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1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5" r:id="rId3"/>
    <p:sldMasterId id="2147483673" r:id="rId4"/>
    <p:sldMasterId id="2147483679" r:id="rId5"/>
    <p:sldMasterId id="2147483695" r:id="rId6"/>
    <p:sldMasterId id="2147483703" r:id="rId7"/>
    <p:sldMasterId id="2147483717" r:id="rId8"/>
    <p:sldMasterId id="2147483739" r:id="rId9"/>
    <p:sldMasterId id="2147483773" r:id="rId10"/>
    <p:sldMasterId id="2147483777" r:id="rId11"/>
    <p:sldMasterId id="2147483781" r:id="rId12"/>
  </p:sldMasterIdLst>
  <p:notesMasterIdLst>
    <p:notesMasterId r:id="rId26"/>
  </p:notesMasterIdLst>
  <p:sldIdLst>
    <p:sldId id="257" r:id="rId13"/>
    <p:sldId id="259" r:id="rId14"/>
    <p:sldId id="273" r:id="rId15"/>
    <p:sldId id="261" r:id="rId16"/>
    <p:sldId id="262" r:id="rId17"/>
    <p:sldId id="265" r:id="rId18"/>
    <p:sldId id="266" r:id="rId19"/>
    <p:sldId id="267" r:id="rId20"/>
    <p:sldId id="268" r:id="rId21"/>
    <p:sldId id="269" r:id="rId22"/>
    <p:sldId id="270" r:id="rId23"/>
    <p:sldId id="271" r:id="rId24"/>
    <p:sldId id="272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CC"/>
    <a:srgbClr val="410B42"/>
    <a:srgbClr val="F088CB"/>
    <a:srgbClr val="E57465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88" autoAdjust="0"/>
    <p:restoredTop sz="87152" autoAdjust="0"/>
  </p:normalViewPr>
  <p:slideViewPr>
    <p:cSldViewPr snapToGrid="0">
      <p:cViewPr varScale="1">
        <p:scale>
          <a:sx n="75" d="100"/>
          <a:sy n="75" d="100"/>
        </p:scale>
        <p:origin x="89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9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53D391-9448-4E2C-B1D7-7BCD86464274}" type="datetimeFigureOut">
              <a:rPr lang="en-US" smtClean="0"/>
              <a:t>7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3A8FCA-590F-409D-B93A-92B699FC6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509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1D6561-DDFE-4E4A-B588-7E0B11A2D5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16853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FD207A-07DF-40AD-A916-9872E089CE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23461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’s not. It’s really what I call a hack. But it works really well. I have to warn you that C4.5 and CART are not elegant by any means that I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 dene elegant. But the resulting trees can be very elegant. Plus there ar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 of the top 10 algorithms in data mining that are decision tree algorithms! So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's worth it for us to know what's under the hood... even though, well... let's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ust say it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in't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rett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FD207A-07DF-40AD-A916-9872E089CE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6144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hyperlink" Target="https://avanade.sharepoint.com/sites/policies/Policies2/Data%20Management/1431_DataManagement.pdf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hyperlink" Target="https://avanade.sharepoint.com/sites/policies/Policies2/Data%20Management/1431_DataManagement.pdf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 txBox="1">
            <a:spLocks noChangeArrowheads="1"/>
          </p:cNvSpPr>
          <p:nvPr/>
        </p:nvSpPr>
        <p:spPr bwMode="auto">
          <a:xfrm>
            <a:off x="4731663" y="6600908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7788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urora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793" y="1122363"/>
            <a:ext cx="10270414" cy="2387600"/>
          </a:xfrm>
        </p:spPr>
        <p:txBody>
          <a:bodyPr anchor="b">
            <a:noAutofit/>
          </a:bodyPr>
          <a:lstStyle>
            <a:lvl1pPr algn="l"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0793" y="3682980"/>
            <a:ext cx="10270414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1819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749524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30591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390719"/>
            <a:ext cx="11430000" cy="9983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81000" y="1524000"/>
            <a:ext cx="11430000" cy="45974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buFont typeface="Arial"/>
              <a:buNone/>
              <a:defRPr lang="en-US" sz="2000" b="0" i="0" kern="120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Arial"/>
              <a:buChar char="•"/>
              <a:defRPr lang="en-US" sz="1800" b="0" i="0" kern="120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Arial"/>
              <a:buChar char="•"/>
              <a:defRPr lang="en-US" sz="1600" b="0" i="0" kern="120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Arial"/>
              <a:buChar char="•"/>
              <a:defRPr lang="en-US" sz="1400" b="0" i="0" kern="120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Arial"/>
              <a:buChar char="•"/>
              <a:defRPr lang="en-US"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8201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105881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789175"/>
            <a:ext cx="10524898" cy="108086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25324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498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5"/>
            <a:ext cx="2742326" cy="365125"/>
          </a:xfrm>
          <a:prstGeom prst="rect">
            <a:avLst/>
          </a:prstGeom>
        </p:spPr>
        <p:txBody>
          <a:bodyPr/>
          <a:lstStyle/>
          <a:p>
            <a:pPr defTabSz="607673"/>
            <a:fld id="{D23C339E-6384-4B7D-8AAA-399CE7159230}" type="slidenum">
              <a:rPr lang="en-US" sz="2400" smtClean="0">
                <a:solidFill>
                  <a:srgbClr val="BCBDBC">
                    <a:lumMod val="25000"/>
                  </a:srgbClr>
                </a:solidFill>
              </a:rPr>
              <a:pPr defTabSz="607673"/>
              <a:t>‹#›</a:t>
            </a:fld>
            <a:endParaRPr lang="en-US" sz="2400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077809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een_Blocks_for_header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5646"/>
          <a:stretch/>
        </p:blipFill>
        <p:spPr>
          <a:xfrm>
            <a:off x="1" y="1"/>
            <a:ext cx="12192000" cy="1321250"/>
          </a:xfrm>
          <a:prstGeom prst="rect">
            <a:avLst/>
          </a:prstGeom>
          <a:solidFill>
            <a:srgbClr val="EEEEEE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222" y="301752"/>
            <a:ext cx="10850034" cy="914400"/>
          </a:xfrm>
        </p:spPr>
        <p:txBody>
          <a:bodyPr/>
          <a:lstStyle>
            <a:lvl1pPr>
              <a:defRPr>
                <a:solidFill>
                  <a:srgbClr val="F86B1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5222" y="1460503"/>
            <a:ext cx="10850034" cy="4422775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rgbClr val="646464"/>
                </a:solidFill>
              </a:defRPr>
            </a:lvl1pPr>
            <a:lvl2pPr>
              <a:spcAft>
                <a:spcPts val="300"/>
              </a:spcAft>
              <a:defRPr>
                <a:solidFill>
                  <a:srgbClr val="646464"/>
                </a:solidFill>
              </a:defRPr>
            </a:lvl2pPr>
            <a:lvl3pPr>
              <a:spcAft>
                <a:spcPts val="300"/>
              </a:spcAft>
              <a:defRPr>
                <a:solidFill>
                  <a:srgbClr val="646464"/>
                </a:solidFill>
              </a:defRPr>
            </a:lvl3pPr>
            <a:lvl4pPr>
              <a:spcAft>
                <a:spcPts val="300"/>
              </a:spcAft>
              <a:defRPr>
                <a:solidFill>
                  <a:srgbClr val="646464"/>
                </a:solidFill>
              </a:defRPr>
            </a:lvl4pPr>
            <a:lvl5pPr>
              <a:spcAft>
                <a:spcPts val="300"/>
              </a:spcAft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9965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46336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992375"/>
            <a:ext cx="10524898" cy="1080861"/>
          </a:xfrm>
        </p:spPr>
        <p:txBody>
          <a:bodyPr>
            <a:noAutofit/>
          </a:bodyPr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10243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789175"/>
            <a:ext cx="10524898" cy="108086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943679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urora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793" y="1122363"/>
            <a:ext cx="10270414" cy="2387600"/>
          </a:xfrm>
        </p:spPr>
        <p:txBody>
          <a:bodyPr anchor="b">
            <a:noAutofit/>
          </a:bodyPr>
          <a:lstStyle>
            <a:lvl1pPr algn="l"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0793" y="3682980"/>
            <a:ext cx="10270414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622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876249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70128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754239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992375"/>
            <a:ext cx="10524898" cy="1080861"/>
          </a:xfrm>
        </p:spPr>
        <p:txBody>
          <a:bodyPr>
            <a:noAutofit/>
          </a:bodyPr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10478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urora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793" y="1122363"/>
            <a:ext cx="10270414" cy="2387600"/>
          </a:xfrm>
        </p:spPr>
        <p:txBody>
          <a:bodyPr anchor="b">
            <a:noAutofit/>
          </a:bodyPr>
          <a:lstStyle>
            <a:lvl1pPr algn="l"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0793" y="3682980"/>
            <a:ext cx="10270414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5019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0537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036110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10" y="0"/>
            <a:ext cx="12194311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5046632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8086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498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90363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929" y="1703449"/>
            <a:ext cx="11653523" cy="44827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54941" y="6455179"/>
            <a:ext cx="4482124" cy="358621"/>
          </a:xfrm>
          <a:prstGeom prst="rect">
            <a:avLst/>
          </a:prstGeom>
        </p:spPr>
        <p:txBody>
          <a:bodyPr/>
          <a:lstStyle/>
          <a:p>
            <a:pPr defTabSz="607491"/>
            <a:endParaRPr lang="en-US" sz="2399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     </a:t>
            </a:r>
            <a:fld id="{06CBF1F6-5712-4539-B263-770AB7E3CA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5527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928" y="1703449"/>
            <a:ext cx="11653523" cy="44827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54940" y="6455177"/>
            <a:ext cx="4482124" cy="358621"/>
          </a:xfrm>
          <a:prstGeom prst="rect">
            <a:avLst/>
          </a:prstGeom>
        </p:spPr>
        <p:txBody>
          <a:bodyPr/>
          <a:lstStyle/>
          <a:p>
            <a:pPr defTabSz="607673"/>
            <a:endParaRPr lang="en-US" sz="2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     </a:t>
            </a:r>
            <a:fld id="{06CBF1F6-5712-4539-B263-770AB7E3CA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5752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conten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1035" y="6531623"/>
            <a:ext cx="1326024" cy="189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589" y="6495394"/>
            <a:ext cx="39206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673"/>
            <a:r>
              <a:rPr lang="en-US" sz="800" dirty="0">
                <a:solidFill>
                  <a:srgbClr val="FF5800"/>
                </a:solidFill>
              </a:rPr>
              <a:t>&lt;Confidential&gt; </a:t>
            </a:r>
            <a:r>
              <a:rPr lang="en-US" sz="800" dirty="0">
                <a:solidFill>
                  <a:srgbClr val="464646"/>
                </a:solidFill>
              </a:rPr>
              <a:t>See Avanade’s </a:t>
            </a:r>
            <a:r>
              <a:rPr lang="en-US" sz="800" dirty="0">
                <a:solidFill>
                  <a:srgbClr val="FF5800"/>
                </a:solidFill>
                <a:hlinkClick r:id="rId3"/>
              </a:rPr>
              <a:t>Data Management Policy</a:t>
            </a:r>
            <a:endParaRPr lang="en-US" sz="800" dirty="0">
              <a:solidFill>
                <a:srgbClr val="FF5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7891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ntent un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507" y="1282394"/>
            <a:ext cx="10988717" cy="45903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" name="Picture 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1036" y="6531623"/>
            <a:ext cx="1326024" cy="189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1677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3" y="1219201"/>
            <a:ext cx="5487829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42" y="1219201"/>
            <a:ext cx="5473434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5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616507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4086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5468" y="1559995"/>
            <a:ext cx="10941073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324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5468" y="1187012"/>
            <a:ext cx="10941073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99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3" y="1164086"/>
            <a:ext cx="5291057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25463" y="1559995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275483" y="1164086"/>
            <a:ext cx="5291057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6275483" y="1559995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116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25463" y="1559277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6275483" y="1559277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92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>
          <a:xfrm flipH="1">
            <a:off x="10888491" y="6537399"/>
            <a:ext cx="677794" cy="161888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625463" y="1186295"/>
            <a:ext cx="5291057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86374" y="1186295"/>
            <a:ext cx="5291057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6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062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ntent un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2550" y="1282392"/>
            <a:ext cx="11126898" cy="5170167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2744" y="274638"/>
            <a:ext cx="11126510" cy="639762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8053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070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468" y="7"/>
            <a:ext cx="10941073" cy="1095121"/>
          </a:xfrm>
          <a:prstGeom prst="rect">
            <a:avLst/>
          </a:prstGeom>
        </p:spPr>
        <p:txBody>
          <a:bodyPr wrap="square" lIns="0" tIns="60937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300" b="0" i="0" spc="0" baseline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88492" y="6537399"/>
            <a:ext cx="677794" cy="161888"/>
          </a:xfrm>
          <a:prstGeom prst="rect">
            <a:avLst/>
          </a:prstGeom>
        </p:spPr>
        <p:txBody>
          <a:bodyPr vert="horz" wrap="square" lIns="121863" tIns="60931" rIns="0" bIns="60931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5468" y="6537399"/>
            <a:ext cx="3681264" cy="161888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068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608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Text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4086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5468" y="1559995"/>
            <a:ext cx="10941073" cy="48768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71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468" y="4401108"/>
            <a:ext cx="1094107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5197"/>
              </a:lnSpc>
              <a:defRPr sz="3599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88492" y="6537399"/>
            <a:ext cx="677794" cy="161888"/>
          </a:xfrm>
          <a:prstGeom prst="rect">
            <a:avLst/>
          </a:prstGeom>
        </p:spPr>
        <p:txBody>
          <a:bodyPr vert="horz" wrap="square" lIns="121863" tIns="60931" rIns="0" bIns="60931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5468" y="6537399"/>
            <a:ext cx="3681264" cy="161888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590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8" name="Rectangle 6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36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sz="1800" dirty="0">
              <a:solidFill>
                <a:srgbClr val="FFFFFF"/>
              </a:solidFill>
              <a:sym typeface="Segoe UI Symbo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594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10" y="0"/>
            <a:ext cx="12194311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5046632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36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498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645654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conten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1035" y="6531623"/>
            <a:ext cx="1326024" cy="189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589" y="6495394"/>
            <a:ext cx="39206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673"/>
            <a:r>
              <a:rPr lang="en-US" sz="800" dirty="0">
                <a:solidFill>
                  <a:srgbClr val="FF5800"/>
                </a:solidFill>
              </a:rPr>
              <a:t>&lt;Confidential&gt; </a:t>
            </a:r>
            <a:r>
              <a:rPr lang="en-US" sz="800" dirty="0">
                <a:solidFill>
                  <a:srgbClr val="464646"/>
                </a:solidFill>
              </a:rPr>
              <a:t>See Avanade’s </a:t>
            </a:r>
            <a:r>
              <a:rPr lang="en-US" sz="800" dirty="0">
                <a:solidFill>
                  <a:srgbClr val="FF5800"/>
                </a:solidFill>
                <a:hlinkClick r:id="rId3"/>
              </a:rPr>
              <a:t>Data Management Policy</a:t>
            </a:r>
            <a:endParaRPr lang="en-US" sz="800" dirty="0">
              <a:solidFill>
                <a:srgbClr val="FF5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703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content un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2550" y="1500997"/>
            <a:ext cx="11126898" cy="495099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2744" y="274638"/>
            <a:ext cx="11126510" cy="639762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32744" y="923026"/>
            <a:ext cx="11126510" cy="4313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>
                    <a:lumMod val="60000"/>
                    <a:lumOff val="4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2936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ntent un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507" y="1282394"/>
            <a:ext cx="10988717" cy="45903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" name="Picture 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1036" y="6531623"/>
            <a:ext cx="1326024" cy="189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8985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3" y="1219201"/>
            <a:ext cx="5487829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42" y="1219201"/>
            <a:ext cx="5473434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5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278726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 flipH="1">
            <a:off x="625468" y="6537399"/>
            <a:ext cx="5366096" cy="161888"/>
          </a:xfrm>
          <a:prstGeom prst="rect">
            <a:avLst/>
          </a:prstGeom>
        </p:spPr>
        <p:txBody>
          <a:bodyPr/>
          <a:lstStyle/>
          <a:p>
            <a:pPr defTabSz="607673"/>
            <a:endParaRPr lang="en-US" sz="2400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280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1998" cy="6856213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1090801"/>
            <a:ext cx="4415106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designed for you</a:t>
            </a:r>
            <a:br>
              <a:rPr lang="en-US" dirty="0"/>
            </a:b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22470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54" y="5949834"/>
            <a:ext cx="2215518" cy="603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67820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1998" cy="68562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729399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018125" y="2065731"/>
            <a:ext cx="4202541" cy="1248556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designed for you</a:t>
            </a:r>
            <a:br>
              <a:rPr lang="en-US" dirty="0"/>
            </a:b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1345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1998" cy="6856213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5" y="2481609"/>
            <a:ext cx="5006693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hat works the way you do</a:t>
            </a:r>
            <a:br>
              <a:rPr lang="en-US" dirty="0"/>
            </a:b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22470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4983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1090801"/>
            <a:ext cx="5154429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008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1998" cy="6856213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1090801"/>
            <a:ext cx="4340026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ransformation, your way</a:t>
            </a:r>
            <a:br>
              <a:rPr lang="en-US" dirty="0"/>
            </a:b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54" y="5949834"/>
            <a:ext cx="2215518" cy="603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46041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20782"/>
            <a:ext cx="12192000" cy="6878782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4638562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hat works the way you d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2379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10" y="0"/>
            <a:ext cx="12194311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5046632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4231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378142" y="6504259"/>
            <a:ext cx="406400" cy="199379"/>
          </a:xfrm>
          <a:prstGeom prst="rect">
            <a:avLst/>
          </a:prstGeom>
        </p:spPr>
        <p:txBody>
          <a:bodyPr/>
          <a:lstStyle/>
          <a:p>
            <a:fld id="{5FF2E63E-D57D-4EFD-8380-089500058C9E}" type="slidenum">
              <a:rPr lang="en-US" smtClean="0">
                <a:solidFill>
                  <a:srgbClr val="464646"/>
                </a:solidFill>
              </a:rPr>
              <a:pPr/>
              <a:t>‹#›</a:t>
            </a:fld>
            <a:endParaRPr lang="en-US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8668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333" t="10130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962382"/>
            <a:ext cx="4569889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ta has the power to transform your business.</a:t>
            </a:r>
            <a:br>
              <a:rPr lang="en-US" dirty="0"/>
            </a:br>
            <a:r>
              <a:rPr lang="en-US" dirty="0"/>
              <a:t>What’s your data doing right now?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6051449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7427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961201"/>
            <a:ext cx="4340026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hat works the way you d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9227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" r="-1" b="665"/>
          <a:stretch/>
        </p:blipFill>
        <p:spPr>
          <a:xfrm>
            <a:off x="0" y="-1"/>
            <a:ext cx="12207122" cy="6858001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961201"/>
            <a:ext cx="4340026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ransformation, your wa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9838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2393" cy="6860309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4497848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44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designed for you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044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2317015"/>
            <a:ext cx="4340026" cy="1563933"/>
          </a:xfrm>
          <a:prstGeom prst="rect">
            <a:avLst/>
          </a:prstGeom>
        </p:spPr>
        <p:txBody>
          <a:bodyPr lIns="71994" anchor="b" anchorCtr="0"/>
          <a:lstStyle>
            <a:lvl1pPr>
              <a:lnSpc>
                <a:spcPct val="9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e harder your data works, the stronger your business gets. What’s your data doing right now?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9731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"/>
          <a:stretch/>
        </p:blipFill>
        <p:spPr>
          <a:xfrm>
            <a:off x="1" y="0"/>
            <a:ext cx="12192000" cy="687878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54" y="5949834"/>
            <a:ext cx="2215518" cy="603367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5" y="961201"/>
            <a:ext cx="4340026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4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593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3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961201"/>
            <a:ext cx="4596348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e harder your data works, the stronger your business gets. What’s your data doing right now?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5709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0413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0414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74926"/>
            <a:ext cx="3963137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3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rom chaos to clarity - deliver digital experiences that matter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7975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414" cy="6858002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5" y="985873"/>
            <a:ext cx="4340026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ransformation, your wa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54" y="5949834"/>
            <a:ext cx="2215518" cy="603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840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498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783758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0200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1"/>
            <a:ext cx="5487829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41" y="1219201"/>
            <a:ext cx="5473434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438663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244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8899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1"/>
            <a:ext cx="5487829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248441" y="1219201"/>
            <a:ext cx="5473434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419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 userDrawn="1"/>
        </p:nvSpPr>
        <p:spPr>
          <a:xfrm>
            <a:off x="1" y="1"/>
            <a:ext cx="12192000" cy="6857999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07673"/>
            <a:endParaRPr sz="240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2897" y="4284178"/>
            <a:ext cx="11162907" cy="1548000"/>
          </a:xfrm>
          <a:prstGeom prst="rect">
            <a:avLst/>
          </a:prstGeom>
          <a:noFill/>
          <a:ln w="111125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 dirty="0">
              <a:solidFill>
                <a:srgbClr val="F86223"/>
              </a:solidFill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4852504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 2015 Avanade Inc. All Rights Reserved.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32" y="6323658"/>
            <a:ext cx="1286272" cy="372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4164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3"/>
          <p:cNvSpPr/>
          <p:nvPr userDrawn="1"/>
        </p:nvSpPr>
        <p:spPr>
          <a:xfrm>
            <a:off x="1" y="1"/>
            <a:ext cx="12192000" cy="6853375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07673"/>
            <a:endParaRPr sz="2400">
              <a:solidFill>
                <a:prstClr val="black"/>
              </a:solidFill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4852504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 2015 Avanade Inc. All Rights Reserved.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07673" rtl="0" eaLnBrk="1" latinLnBrk="0" hangingPunct="1">
              <a:defRPr sz="1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07673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5346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3018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0685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38345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46032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53689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61345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23C339E-6384-4B7D-8AAA-399CE7159230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32" y="6323658"/>
            <a:ext cx="1286272" cy="372041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512897" y="4284178"/>
            <a:ext cx="11162907" cy="1548000"/>
          </a:xfrm>
          <a:prstGeom prst="rect">
            <a:avLst/>
          </a:prstGeom>
          <a:noFill/>
          <a:ln w="111125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 dirty="0">
              <a:solidFill>
                <a:srgbClr val="F862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60111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3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07673"/>
            <a:endParaRPr sz="240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 txBox="1">
            <a:spLocks noChangeArrowheads="1"/>
          </p:cNvSpPr>
          <p:nvPr userDrawn="1"/>
        </p:nvSpPr>
        <p:spPr bwMode="auto">
          <a:xfrm>
            <a:off x="4852502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6 Avanade Inc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32" y="6323658"/>
            <a:ext cx="1286272" cy="372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5200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928" y="1703449"/>
            <a:ext cx="11653523" cy="44827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54940" y="6455177"/>
            <a:ext cx="4482124" cy="358621"/>
          </a:xfrm>
          <a:prstGeom prst="rect">
            <a:avLst/>
          </a:prstGeom>
        </p:spPr>
        <p:txBody>
          <a:bodyPr/>
          <a:lstStyle/>
          <a:p>
            <a:pPr defTabSz="607673"/>
            <a:endParaRPr lang="en-US" sz="2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     </a:t>
            </a:r>
            <a:fld id="{06CBF1F6-5712-4539-B263-770AB7E3CA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057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44543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12192000" cy="6163056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5509"/>
            <a:endParaRPr lang="en-GB" sz="1798">
              <a:solidFill>
                <a:srgbClr val="FFFFFF"/>
              </a:solidFill>
            </a:endParaRPr>
          </a:p>
        </p:txBody>
      </p:sp>
      <p:pic>
        <p:nvPicPr>
          <p:cNvPr id="3" name="Picture 2" descr="GreenBlocks_0000_ScreenRes_RGB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175" y="0"/>
            <a:ext cx="12195175" cy="6163056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680898" y="660401"/>
            <a:ext cx="10823218" cy="4490719"/>
          </a:xfrm>
          <a:prstGeom prst="rect">
            <a:avLst/>
          </a:prstGeom>
          <a:noFill/>
          <a:ln w="5080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2" rIns="68543" bIns="34272" rtlCol="0" anchor="ctr"/>
          <a:lstStyle/>
          <a:p>
            <a:pPr algn="ctr" defTabSz="455509"/>
            <a:endParaRPr lang="en-US" sz="1798">
              <a:solidFill>
                <a:srgbClr val="FFFFFF"/>
              </a:solidFill>
            </a:endParaRPr>
          </a:p>
        </p:txBody>
      </p:sp>
      <p:pic>
        <p:nvPicPr>
          <p:cNvPr id="8" name="Picture 7" descr="GreenBlocks_0000_ScreenRes_RGB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0705" y="3"/>
            <a:ext cx="7261298" cy="304150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75223" y="2540629"/>
            <a:ext cx="10850035" cy="914399"/>
          </a:xfrm>
        </p:spPr>
        <p:txBody>
          <a:bodyPr/>
          <a:lstStyle>
            <a:lvl1pPr algn="ctr">
              <a:defRPr sz="4948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3031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een_Blocks_for_header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5646"/>
          <a:stretch/>
        </p:blipFill>
        <p:spPr>
          <a:xfrm>
            <a:off x="1" y="1"/>
            <a:ext cx="12192000" cy="1321251"/>
          </a:xfrm>
          <a:prstGeom prst="rect">
            <a:avLst/>
          </a:prstGeom>
          <a:solidFill>
            <a:srgbClr val="EEEEEE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223" y="301753"/>
            <a:ext cx="10850035" cy="914399"/>
          </a:xfrm>
        </p:spPr>
        <p:txBody>
          <a:bodyPr/>
          <a:lstStyle>
            <a:lvl1pPr>
              <a:defRPr>
                <a:solidFill>
                  <a:srgbClr val="F86B1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5223" y="1460504"/>
            <a:ext cx="10850035" cy="4422774"/>
          </a:xfrm>
        </p:spPr>
        <p:txBody>
          <a:bodyPr/>
          <a:lstStyle>
            <a:lvl1pPr>
              <a:spcAft>
                <a:spcPts val="150"/>
              </a:spcAft>
              <a:defRPr>
                <a:solidFill>
                  <a:srgbClr val="646464"/>
                </a:solidFill>
              </a:defRPr>
            </a:lvl1pPr>
            <a:lvl2pPr>
              <a:spcAft>
                <a:spcPts val="224"/>
              </a:spcAft>
              <a:defRPr>
                <a:solidFill>
                  <a:srgbClr val="646464"/>
                </a:solidFill>
              </a:defRPr>
            </a:lvl2pPr>
            <a:lvl3pPr>
              <a:spcAft>
                <a:spcPts val="224"/>
              </a:spcAft>
              <a:defRPr>
                <a:solidFill>
                  <a:srgbClr val="646464"/>
                </a:solidFill>
              </a:defRPr>
            </a:lvl3pPr>
            <a:lvl4pPr>
              <a:spcAft>
                <a:spcPts val="224"/>
              </a:spcAft>
              <a:defRPr>
                <a:solidFill>
                  <a:srgbClr val="646464"/>
                </a:solidFill>
              </a:defRPr>
            </a:lvl4pPr>
            <a:lvl5pPr>
              <a:spcAft>
                <a:spcPts val="224"/>
              </a:spcAft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7703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60792" y="274638"/>
            <a:ext cx="10270415" cy="639762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960792" y="923026"/>
            <a:ext cx="10270415" cy="4313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>
                    <a:lumMod val="60000"/>
                    <a:lumOff val="4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44121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nk_Drop_PrintRes_PPT_banner_crop_RGB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2223"/>
          <a:stretch/>
        </p:blipFill>
        <p:spPr>
          <a:xfrm>
            <a:off x="1" y="1"/>
            <a:ext cx="12192000" cy="1321252"/>
          </a:xfrm>
          <a:prstGeom prst="rect">
            <a:avLst/>
          </a:prstGeom>
          <a:solidFill>
            <a:srgbClr val="EEEEEE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223" y="301753"/>
            <a:ext cx="10850035" cy="914399"/>
          </a:xfrm>
        </p:spPr>
        <p:txBody>
          <a:bodyPr/>
          <a:lstStyle>
            <a:lvl1pPr>
              <a:defRPr>
                <a:solidFill>
                  <a:srgbClr val="F86B1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75222" y="1441828"/>
            <a:ext cx="5304901" cy="4876799"/>
          </a:xfrm>
        </p:spPr>
        <p:txBody>
          <a:bodyPr/>
          <a:lstStyle>
            <a:lvl1pPr>
              <a:spcAft>
                <a:spcPts val="150"/>
              </a:spcAft>
              <a:defRPr>
                <a:solidFill>
                  <a:srgbClr val="646464"/>
                </a:solidFill>
              </a:defRPr>
            </a:lvl1pPr>
            <a:lvl2pPr>
              <a:spcAft>
                <a:spcPts val="224"/>
              </a:spcAft>
              <a:defRPr>
                <a:solidFill>
                  <a:srgbClr val="646464"/>
                </a:solidFill>
              </a:defRPr>
            </a:lvl2pPr>
            <a:lvl3pPr>
              <a:spcAft>
                <a:spcPts val="224"/>
              </a:spcAft>
              <a:defRPr>
                <a:solidFill>
                  <a:srgbClr val="646464"/>
                </a:solidFill>
              </a:defRPr>
            </a:lvl3pPr>
            <a:lvl4pPr>
              <a:spcAft>
                <a:spcPts val="224"/>
              </a:spcAft>
              <a:defRPr>
                <a:solidFill>
                  <a:srgbClr val="646464"/>
                </a:solidFill>
              </a:defRPr>
            </a:lvl4pPr>
            <a:lvl5pPr>
              <a:spcAft>
                <a:spcPts val="224"/>
              </a:spcAft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6128892" y="1441825"/>
            <a:ext cx="5304901" cy="4876798"/>
          </a:xfrm>
        </p:spPr>
        <p:txBody>
          <a:bodyPr/>
          <a:lstStyle>
            <a:lvl1pPr>
              <a:spcAft>
                <a:spcPts val="150"/>
              </a:spcAft>
              <a:defRPr>
                <a:solidFill>
                  <a:srgbClr val="646464"/>
                </a:solidFill>
              </a:defRPr>
            </a:lvl1pPr>
            <a:lvl2pPr>
              <a:spcAft>
                <a:spcPts val="224"/>
              </a:spcAft>
              <a:defRPr>
                <a:solidFill>
                  <a:srgbClr val="646464"/>
                </a:solidFill>
              </a:defRPr>
            </a:lvl2pPr>
            <a:lvl3pPr>
              <a:spcAft>
                <a:spcPts val="224"/>
              </a:spcAft>
              <a:defRPr>
                <a:solidFill>
                  <a:srgbClr val="646464"/>
                </a:solidFill>
              </a:defRPr>
            </a:lvl3pPr>
            <a:lvl4pPr>
              <a:spcAft>
                <a:spcPts val="224"/>
              </a:spcAft>
              <a:defRPr>
                <a:solidFill>
                  <a:srgbClr val="646464"/>
                </a:solidFill>
              </a:defRPr>
            </a:lvl4pPr>
            <a:lvl5pPr>
              <a:spcAft>
                <a:spcPts val="224"/>
              </a:spcAft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69616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163056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5630"/>
            <a:endParaRPr lang="en-GB" sz="1799">
              <a:solidFill>
                <a:srgbClr val="FFFFFF"/>
              </a:solidFill>
            </a:endParaRPr>
          </a:p>
        </p:txBody>
      </p:sp>
      <p:pic>
        <p:nvPicPr>
          <p:cNvPr id="3" name="Picture 2" descr="GreenBlocks_0000_ScreenRes_RGB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175" y="0"/>
            <a:ext cx="12195175" cy="6163056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680897" y="660401"/>
            <a:ext cx="10823218" cy="4490719"/>
          </a:xfrm>
          <a:prstGeom prst="rect">
            <a:avLst/>
          </a:prstGeom>
          <a:noFill/>
          <a:ln w="5080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1" rIns="68561" bIns="34281" rtlCol="0" anchor="ctr"/>
          <a:lstStyle/>
          <a:p>
            <a:pPr algn="ctr" defTabSz="455630"/>
            <a:endParaRPr lang="en-US" sz="1799">
              <a:solidFill>
                <a:srgbClr val="FFFFFF"/>
              </a:solidFill>
            </a:endParaRPr>
          </a:p>
        </p:txBody>
      </p:sp>
      <p:pic>
        <p:nvPicPr>
          <p:cNvPr id="8" name="Picture 7" descr="GreenBlocks_0000_ScreenRes_RGB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0704" y="2"/>
            <a:ext cx="7261298" cy="304150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75224" y="2540629"/>
            <a:ext cx="10850033" cy="914399"/>
          </a:xfrm>
        </p:spPr>
        <p:txBody>
          <a:bodyPr/>
          <a:lstStyle>
            <a:lvl1pPr algn="ctr">
              <a:defRPr sz="4949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720987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een_Blocks_for_header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5646"/>
          <a:stretch/>
        </p:blipFill>
        <p:spPr>
          <a:xfrm>
            <a:off x="0" y="1"/>
            <a:ext cx="12192000" cy="1321251"/>
          </a:xfrm>
          <a:prstGeom prst="rect">
            <a:avLst/>
          </a:prstGeom>
          <a:solidFill>
            <a:srgbClr val="EEEEEE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224" y="301753"/>
            <a:ext cx="10850033" cy="914399"/>
          </a:xfrm>
        </p:spPr>
        <p:txBody>
          <a:bodyPr/>
          <a:lstStyle>
            <a:lvl1pPr>
              <a:defRPr>
                <a:solidFill>
                  <a:srgbClr val="F86B1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5224" y="1460504"/>
            <a:ext cx="10850033" cy="4422774"/>
          </a:xfrm>
        </p:spPr>
        <p:txBody>
          <a:bodyPr/>
          <a:lstStyle>
            <a:lvl1pPr>
              <a:spcAft>
                <a:spcPts val="150"/>
              </a:spcAft>
              <a:defRPr>
                <a:solidFill>
                  <a:srgbClr val="646464"/>
                </a:solidFill>
              </a:defRPr>
            </a:lvl1pPr>
            <a:lvl2pPr>
              <a:spcAft>
                <a:spcPts val="224"/>
              </a:spcAft>
              <a:defRPr>
                <a:solidFill>
                  <a:srgbClr val="646464"/>
                </a:solidFill>
              </a:defRPr>
            </a:lvl2pPr>
            <a:lvl3pPr>
              <a:spcAft>
                <a:spcPts val="224"/>
              </a:spcAft>
              <a:defRPr>
                <a:solidFill>
                  <a:srgbClr val="646464"/>
                </a:solidFill>
              </a:defRPr>
            </a:lvl3pPr>
            <a:lvl4pPr>
              <a:spcAft>
                <a:spcPts val="224"/>
              </a:spcAft>
              <a:defRPr>
                <a:solidFill>
                  <a:srgbClr val="646464"/>
                </a:solidFill>
              </a:defRPr>
            </a:lvl4pPr>
            <a:lvl5pPr>
              <a:spcAft>
                <a:spcPts val="224"/>
              </a:spcAft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97619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nk_Drop_PrintRes_PPT_banner_crop_RGB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2223"/>
          <a:stretch/>
        </p:blipFill>
        <p:spPr>
          <a:xfrm>
            <a:off x="0" y="0"/>
            <a:ext cx="12192000" cy="1321252"/>
          </a:xfrm>
          <a:prstGeom prst="rect">
            <a:avLst/>
          </a:prstGeom>
          <a:solidFill>
            <a:srgbClr val="EEEEEE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224" y="301753"/>
            <a:ext cx="10850033" cy="914399"/>
          </a:xfrm>
        </p:spPr>
        <p:txBody>
          <a:bodyPr/>
          <a:lstStyle>
            <a:lvl1pPr>
              <a:defRPr>
                <a:solidFill>
                  <a:srgbClr val="F86B1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75222" y="1441827"/>
            <a:ext cx="5304901" cy="4876799"/>
          </a:xfrm>
        </p:spPr>
        <p:txBody>
          <a:bodyPr/>
          <a:lstStyle>
            <a:lvl1pPr>
              <a:spcAft>
                <a:spcPts val="150"/>
              </a:spcAft>
              <a:defRPr>
                <a:solidFill>
                  <a:srgbClr val="646464"/>
                </a:solidFill>
              </a:defRPr>
            </a:lvl1pPr>
            <a:lvl2pPr>
              <a:spcAft>
                <a:spcPts val="224"/>
              </a:spcAft>
              <a:defRPr>
                <a:solidFill>
                  <a:srgbClr val="646464"/>
                </a:solidFill>
              </a:defRPr>
            </a:lvl2pPr>
            <a:lvl3pPr>
              <a:spcAft>
                <a:spcPts val="224"/>
              </a:spcAft>
              <a:defRPr>
                <a:solidFill>
                  <a:srgbClr val="646464"/>
                </a:solidFill>
              </a:defRPr>
            </a:lvl3pPr>
            <a:lvl4pPr>
              <a:spcAft>
                <a:spcPts val="224"/>
              </a:spcAft>
              <a:defRPr>
                <a:solidFill>
                  <a:srgbClr val="646464"/>
                </a:solidFill>
              </a:defRPr>
            </a:lvl4pPr>
            <a:lvl5pPr>
              <a:spcAft>
                <a:spcPts val="224"/>
              </a:spcAft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6128892" y="1441825"/>
            <a:ext cx="5304901" cy="4876798"/>
          </a:xfrm>
        </p:spPr>
        <p:txBody>
          <a:bodyPr/>
          <a:lstStyle>
            <a:lvl1pPr>
              <a:spcAft>
                <a:spcPts val="150"/>
              </a:spcAft>
              <a:defRPr>
                <a:solidFill>
                  <a:srgbClr val="646464"/>
                </a:solidFill>
              </a:defRPr>
            </a:lvl1pPr>
            <a:lvl2pPr>
              <a:spcAft>
                <a:spcPts val="224"/>
              </a:spcAft>
              <a:defRPr>
                <a:solidFill>
                  <a:srgbClr val="646464"/>
                </a:solidFill>
              </a:defRPr>
            </a:lvl2pPr>
            <a:lvl3pPr>
              <a:spcAft>
                <a:spcPts val="224"/>
              </a:spcAft>
              <a:defRPr>
                <a:solidFill>
                  <a:srgbClr val="646464"/>
                </a:solidFill>
              </a:defRPr>
            </a:lvl3pPr>
            <a:lvl4pPr>
              <a:spcAft>
                <a:spcPts val="224"/>
              </a:spcAft>
              <a:defRPr>
                <a:solidFill>
                  <a:srgbClr val="646464"/>
                </a:solidFill>
              </a:defRPr>
            </a:lvl4pPr>
            <a:lvl5pPr>
              <a:spcAft>
                <a:spcPts val="224"/>
              </a:spcAft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406932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Gray_BG_Divider_noPeo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921" y="2"/>
            <a:ext cx="12192000" cy="5750483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5509"/>
            <a:endParaRPr lang="en-GB" sz="1798">
              <a:solidFill>
                <a:srgbClr val="FFFFFF"/>
              </a:solidFill>
            </a:endParaRPr>
          </a:p>
        </p:txBody>
      </p:sp>
      <p:pic>
        <p:nvPicPr>
          <p:cNvPr id="10" name="Picture 9" descr="GreenBlocks_1548_PrintRes_RGB_297w-150dpi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353" y="-21974"/>
            <a:ext cx="7055810" cy="493445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80898" y="660401"/>
            <a:ext cx="10823218" cy="4490719"/>
          </a:xfrm>
          <a:prstGeom prst="rect">
            <a:avLst/>
          </a:prstGeom>
          <a:noFill/>
          <a:ln w="5080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2" rIns="68543" bIns="34272" rtlCol="0" anchor="ctr"/>
          <a:lstStyle/>
          <a:p>
            <a:pPr algn="ctr" defTabSz="455509"/>
            <a:endParaRPr lang="en-US" sz="1798">
              <a:solidFill>
                <a:srgbClr val="FFFFFF"/>
              </a:solidFill>
            </a:endParaRPr>
          </a:p>
        </p:txBody>
      </p:sp>
      <p:pic>
        <p:nvPicPr>
          <p:cNvPr id="11" name="Picture 10" descr="ava_tag_color_rgb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51" y="5969001"/>
            <a:ext cx="2102948" cy="572711"/>
          </a:xfrm>
          <a:prstGeom prst="rect">
            <a:avLst/>
          </a:prstGeom>
        </p:spPr>
      </p:pic>
      <p:sp>
        <p:nvSpPr>
          <p:cNvPr id="1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78143" y="6504260"/>
            <a:ext cx="406400" cy="19937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824">
                <a:solidFill>
                  <a:schemeClr val="tx2"/>
                </a:solidFill>
              </a:defRPr>
            </a:lvl1pPr>
          </a:lstStyle>
          <a:p>
            <a:fld id="{5FF2E63E-D57D-4EFD-8380-089500058C9E}" type="slidenum">
              <a:rPr lang="en-US" smtClean="0">
                <a:solidFill>
                  <a:srgbClr val="464646"/>
                </a:solidFill>
              </a:rPr>
              <a:pPr/>
              <a:t>‹#›</a:t>
            </a:fld>
            <a:endParaRPr lang="en-US" dirty="0">
              <a:solidFill>
                <a:srgbClr val="464646"/>
              </a:solidFill>
            </a:endParaRPr>
          </a:p>
        </p:txBody>
      </p:sp>
      <p:sp>
        <p:nvSpPr>
          <p:cNvPr id="20" name="Rectangle 5"/>
          <p:cNvSpPr txBox="1">
            <a:spLocks noChangeArrowheads="1"/>
          </p:cNvSpPr>
          <p:nvPr userDrawn="1"/>
        </p:nvSpPr>
        <p:spPr bwMode="auto">
          <a:xfrm>
            <a:off x="446296" y="5478146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455509">
              <a:lnSpc>
                <a:spcPct val="90000"/>
              </a:lnSpc>
              <a:spcAft>
                <a:spcPct val="30000"/>
              </a:spcAft>
            </a:pPr>
            <a:r>
              <a:rPr lang="en-US" sz="450" dirty="0">
                <a:solidFill>
                  <a:srgbClr val="464646"/>
                </a:solidFill>
              </a:rPr>
              <a:t>© 2016 Avanade Inc. All Rights Reserved.</a:t>
            </a:r>
          </a:p>
        </p:txBody>
      </p:sp>
      <p:sp>
        <p:nvSpPr>
          <p:cNvPr id="21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1179283"/>
            <a:ext cx="5006693" cy="1563933"/>
          </a:xfrm>
        </p:spPr>
        <p:txBody>
          <a:bodyPr lIns="71994"/>
          <a:lstStyle>
            <a:lvl1pPr>
              <a:lnSpc>
                <a:spcPct val="90000"/>
              </a:lnSpc>
              <a:defRPr sz="3298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pic>
        <p:nvPicPr>
          <p:cNvPr id="26" name="Picture 25" descr="HR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4752" y="6227974"/>
            <a:ext cx="1889790" cy="192541"/>
          </a:xfrm>
          <a:prstGeom prst="rect">
            <a:avLst/>
          </a:prstGeom>
        </p:spPr>
      </p:pic>
      <p:pic>
        <p:nvPicPr>
          <p:cNvPr id="2" name="Picture 1" descr="GreenBlocks_1548_PrintRes_RGB_297w-150dpi.png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62232" y="-21973"/>
            <a:ext cx="4626847" cy="4065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28175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BG_no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78143" y="6504260"/>
            <a:ext cx="406400" cy="19937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824">
                <a:solidFill>
                  <a:schemeClr val="tx2"/>
                </a:solidFill>
              </a:defRPr>
            </a:lvl1pPr>
          </a:lstStyle>
          <a:p>
            <a:fld id="{5FF2E63E-D57D-4EFD-8380-089500058C9E}" type="slidenum">
              <a:rPr lang="en-US" smtClean="0">
                <a:solidFill>
                  <a:srgbClr val="464646"/>
                </a:solidFill>
              </a:rPr>
              <a:pPr/>
              <a:t>‹#›</a:t>
            </a:fld>
            <a:endParaRPr lang="en-US" dirty="0">
              <a:solidFill>
                <a:srgbClr val="464646"/>
              </a:solidFill>
            </a:endParaRPr>
          </a:p>
        </p:txBody>
      </p:sp>
      <p:sp>
        <p:nvSpPr>
          <p:cNvPr id="71" name="Title 1"/>
          <p:cNvSpPr>
            <a:spLocks noGrp="1"/>
          </p:cNvSpPr>
          <p:nvPr>
            <p:ph type="title" hasCustomPrompt="1"/>
          </p:nvPr>
        </p:nvSpPr>
        <p:spPr>
          <a:xfrm>
            <a:off x="393802" y="269876"/>
            <a:ext cx="11393280" cy="6654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88594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2E63E-D57D-4EFD-8380-089500058C9E}" type="slidenum">
              <a:rPr lang="en-US" smtClean="0">
                <a:solidFill>
                  <a:srgbClr val="464646"/>
                </a:solidFill>
              </a:rPr>
              <a:pPr/>
              <a:t>‹#›</a:t>
            </a:fld>
            <a:endParaRPr lang="en-US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5338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een_Blocks_for_header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5646"/>
          <a:stretch/>
        </p:blipFill>
        <p:spPr>
          <a:xfrm>
            <a:off x="1" y="1"/>
            <a:ext cx="12192000" cy="1321251"/>
          </a:xfrm>
          <a:prstGeom prst="rect">
            <a:avLst/>
          </a:prstGeom>
          <a:solidFill>
            <a:srgbClr val="EEEEEE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223" y="301753"/>
            <a:ext cx="10850035" cy="914399"/>
          </a:xfrm>
        </p:spPr>
        <p:txBody>
          <a:bodyPr/>
          <a:lstStyle>
            <a:lvl1pPr>
              <a:defRPr>
                <a:solidFill>
                  <a:srgbClr val="F86B1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5223" y="1460504"/>
            <a:ext cx="10850035" cy="4422774"/>
          </a:xfrm>
        </p:spPr>
        <p:txBody>
          <a:bodyPr/>
          <a:lstStyle>
            <a:lvl1pPr>
              <a:spcAft>
                <a:spcPts val="150"/>
              </a:spcAft>
              <a:defRPr>
                <a:solidFill>
                  <a:srgbClr val="646464"/>
                </a:solidFill>
              </a:defRPr>
            </a:lvl1pPr>
            <a:lvl2pPr>
              <a:spcAft>
                <a:spcPts val="224"/>
              </a:spcAft>
              <a:defRPr>
                <a:solidFill>
                  <a:srgbClr val="646464"/>
                </a:solidFill>
              </a:defRPr>
            </a:lvl2pPr>
            <a:lvl3pPr>
              <a:spcAft>
                <a:spcPts val="224"/>
              </a:spcAft>
              <a:defRPr>
                <a:solidFill>
                  <a:srgbClr val="646464"/>
                </a:solidFill>
              </a:defRPr>
            </a:lvl3pPr>
            <a:lvl4pPr>
              <a:spcAft>
                <a:spcPts val="224"/>
              </a:spcAft>
              <a:defRPr>
                <a:solidFill>
                  <a:srgbClr val="646464"/>
                </a:solidFill>
              </a:defRPr>
            </a:lvl4pPr>
            <a:lvl5pPr>
              <a:spcAft>
                <a:spcPts val="224"/>
              </a:spcAft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61301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992375"/>
            <a:ext cx="10524898" cy="1080861"/>
          </a:xfrm>
        </p:spPr>
        <p:txBody>
          <a:bodyPr>
            <a:noAutofit/>
          </a:bodyPr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12990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31.jpeg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5" Type="http://schemas.openxmlformats.org/officeDocument/2006/relationships/image" Target="../media/image31.jpeg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31.jpe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87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hyperlink" Target="https://avanade.sharepoint.com/sites/policies/Policies2/Data%20Management/1431_DataManagement.pdf" TargetMode="Externa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0.xml"/><Relationship Id="rId7" Type="http://schemas.openxmlformats.org/officeDocument/2006/relationships/hyperlink" Target="https://avanade.sharepoint.com/sites/policies/Policies2/Data%20Management/1431_DataManagement.pdf" TargetMode="Externa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5.xml"/><Relationship Id="rId7" Type="http://schemas.openxmlformats.org/officeDocument/2006/relationships/hyperlink" Target="https://avanade.sharepoint.com/sites/policies/Policies2/Data%20Management/1431_DataManagement.pdf" TargetMode="Externa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image" Target="../media/image10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9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theme" Target="../theme/theme9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9248" y="2083305"/>
            <a:ext cx="7333503" cy="2691389"/>
          </a:xfrm>
          <a:prstGeom prst="rect">
            <a:avLst/>
          </a:prstGeom>
        </p:spPr>
      </p:pic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4731663" y="6600908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32516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5223" y="301626"/>
            <a:ext cx="10850035" cy="914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5223" y="1460504"/>
            <a:ext cx="10850035" cy="444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5"/>
          <p:cNvSpPr txBox="1">
            <a:spLocks noChangeArrowheads="1"/>
          </p:cNvSpPr>
          <p:nvPr userDrawn="1"/>
        </p:nvSpPr>
        <p:spPr bwMode="auto">
          <a:xfrm>
            <a:off x="4852504" y="6531625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455509">
              <a:lnSpc>
                <a:spcPct val="90000"/>
              </a:lnSpc>
              <a:spcAft>
                <a:spcPct val="30000"/>
              </a:spcAft>
              <a:defRPr/>
            </a:pPr>
            <a:r>
              <a:rPr lang="en-US" sz="450" dirty="0">
                <a:solidFill>
                  <a:srgbClr val="464646"/>
                </a:solidFill>
              </a:rPr>
              <a:t>© 2016 Avanade Inc. All Rights Reserved.</a:t>
            </a:r>
          </a:p>
        </p:txBody>
      </p:sp>
      <p:sp>
        <p:nvSpPr>
          <p:cNvPr id="14" name="Slide Number Placeholder 2"/>
          <p:cNvSpPr txBox="1">
            <a:spLocks/>
          </p:cNvSpPr>
          <p:nvPr userDrawn="1"/>
        </p:nvSpPr>
        <p:spPr>
          <a:xfrm>
            <a:off x="11378143" y="6504260"/>
            <a:ext cx="406400" cy="19937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r" defTabSz="60772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7720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5441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3161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0875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38583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46318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54022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61725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5509">
              <a:defRPr/>
            </a:pPr>
            <a:fld id="{5FF2E63E-D57D-4EFD-8380-089500058C9E}" type="slidenum">
              <a:rPr lang="en-US" sz="824" smtClean="0">
                <a:solidFill>
                  <a:srgbClr val="464646"/>
                </a:solidFill>
              </a:rPr>
              <a:pPr defTabSz="455509">
                <a:defRPr/>
              </a:pPr>
              <a:t>‹#›</a:t>
            </a:fld>
            <a:endParaRPr lang="en-US" sz="824" dirty="0">
              <a:solidFill>
                <a:srgbClr val="464646"/>
              </a:solidFill>
            </a:endParaRPr>
          </a:p>
        </p:txBody>
      </p:sp>
      <p:pic>
        <p:nvPicPr>
          <p:cNvPr id="7" name="Picture 6" descr="ava_tag_color_rgb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55" y="6370212"/>
            <a:ext cx="1224320" cy="333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810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8">
          <a:solidFill>
            <a:srgbClr val="F86B1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8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8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8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8">
          <a:solidFill>
            <a:schemeClr val="tx2"/>
          </a:solidFill>
          <a:latin typeface="Arial" charset="0"/>
        </a:defRPr>
      </a:lvl5pPr>
      <a:lvl6pPr marL="342688" algn="l" rtl="0" eaLnBrk="1" fontAlgn="base" hangingPunct="1">
        <a:spcBef>
          <a:spcPct val="0"/>
        </a:spcBef>
        <a:spcAft>
          <a:spcPct val="0"/>
        </a:spcAft>
        <a:defRPr sz="2398" b="1">
          <a:solidFill>
            <a:schemeClr val="tx2"/>
          </a:solidFill>
          <a:latin typeface="Arial" charset="0"/>
        </a:defRPr>
      </a:lvl6pPr>
      <a:lvl7pPr marL="685376" algn="l" rtl="0" eaLnBrk="1" fontAlgn="base" hangingPunct="1">
        <a:spcBef>
          <a:spcPct val="0"/>
        </a:spcBef>
        <a:spcAft>
          <a:spcPct val="0"/>
        </a:spcAft>
        <a:defRPr sz="2398" b="1">
          <a:solidFill>
            <a:schemeClr val="tx2"/>
          </a:solidFill>
          <a:latin typeface="Arial" charset="0"/>
        </a:defRPr>
      </a:lvl7pPr>
      <a:lvl8pPr marL="1028065" algn="l" rtl="0" eaLnBrk="1" fontAlgn="base" hangingPunct="1">
        <a:spcBef>
          <a:spcPct val="0"/>
        </a:spcBef>
        <a:spcAft>
          <a:spcPct val="0"/>
        </a:spcAft>
        <a:defRPr sz="2398" b="1">
          <a:solidFill>
            <a:schemeClr val="tx2"/>
          </a:solidFill>
          <a:latin typeface="Arial" charset="0"/>
        </a:defRPr>
      </a:lvl8pPr>
      <a:lvl9pPr marL="1370752" algn="l" rtl="0" eaLnBrk="1" fontAlgn="base" hangingPunct="1">
        <a:spcBef>
          <a:spcPct val="0"/>
        </a:spcBef>
        <a:spcAft>
          <a:spcPct val="0"/>
        </a:spcAft>
        <a:defRPr sz="2398" b="1">
          <a:solidFill>
            <a:schemeClr val="tx2"/>
          </a:solidFill>
          <a:latin typeface="Arial" charset="0"/>
        </a:defRPr>
      </a:lvl9pPr>
    </p:titleStyle>
    <p:bodyStyle>
      <a:lvl1pPr marL="130889" indent="-130889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Char char="•"/>
        <a:defRPr sz="1200">
          <a:solidFill>
            <a:srgbClr val="646464"/>
          </a:solidFill>
          <a:latin typeface="+mn-lt"/>
          <a:ea typeface="+mn-ea"/>
          <a:cs typeface="+mn-cs"/>
        </a:defRPr>
      </a:lvl1pPr>
      <a:lvl2pPr marL="317700" indent="-154686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rgbClr val="646464"/>
          </a:solidFill>
          <a:latin typeface="+mn-lt"/>
        </a:defRPr>
      </a:lvl2pPr>
      <a:lvl3pPr marL="489045" indent="-146357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Wingdings" pitchFamily="2" charset="2"/>
        <a:buChar char="§"/>
        <a:defRPr sz="1200">
          <a:solidFill>
            <a:srgbClr val="646464"/>
          </a:solidFill>
          <a:latin typeface="+mn-lt"/>
        </a:defRPr>
      </a:lvl3pPr>
      <a:lvl4pPr marL="660389" indent="-146357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rgbClr val="646464"/>
          </a:solidFill>
          <a:latin typeface="+mn-lt"/>
        </a:defRPr>
      </a:lvl4pPr>
      <a:lvl5pPr marL="816265" indent="-130889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Arial"/>
        <a:buChar char="•"/>
        <a:defRPr sz="1200">
          <a:solidFill>
            <a:srgbClr val="646464"/>
          </a:solidFill>
          <a:latin typeface="+mn-lt"/>
        </a:defRPr>
      </a:lvl5pPr>
      <a:lvl6pPr marL="1158953" indent="-130889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1501641" indent="-130889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1844329" indent="-130889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2187018" indent="-130889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688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376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065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752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442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130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818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507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5224" y="301626"/>
            <a:ext cx="10850033" cy="914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5224" y="1460504"/>
            <a:ext cx="10850033" cy="444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5"/>
          <p:cNvSpPr txBox="1">
            <a:spLocks noChangeArrowheads="1"/>
          </p:cNvSpPr>
          <p:nvPr userDrawn="1"/>
        </p:nvSpPr>
        <p:spPr bwMode="auto">
          <a:xfrm>
            <a:off x="4852503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455630">
              <a:lnSpc>
                <a:spcPct val="90000"/>
              </a:lnSpc>
              <a:spcAft>
                <a:spcPct val="30000"/>
              </a:spcAft>
              <a:defRPr/>
            </a:pPr>
            <a:r>
              <a:rPr lang="en-US" sz="450" dirty="0">
                <a:solidFill>
                  <a:srgbClr val="464646"/>
                </a:solidFill>
              </a:rPr>
              <a:t>© 2016 Avanade Inc. All Rights Reserved.</a:t>
            </a:r>
          </a:p>
        </p:txBody>
      </p:sp>
      <p:sp>
        <p:nvSpPr>
          <p:cNvPr id="14" name="Slide Number Placeholder 2"/>
          <p:cNvSpPr txBox="1">
            <a:spLocks/>
          </p:cNvSpPr>
          <p:nvPr userDrawn="1"/>
        </p:nvSpPr>
        <p:spPr>
          <a:xfrm>
            <a:off x="11378143" y="6504259"/>
            <a:ext cx="406400" cy="19937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r" defTabSz="60772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7720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5441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3161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0875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38583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46318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54022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61725" algn="l" defTabSz="60772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5630">
              <a:defRPr/>
            </a:pPr>
            <a:fld id="{5FF2E63E-D57D-4EFD-8380-089500058C9E}" type="slidenum">
              <a:rPr lang="en-US" sz="824" smtClean="0">
                <a:solidFill>
                  <a:srgbClr val="464646"/>
                </a:solidFill>
              </a:rPr>
              <a:pPr defTabSz="455630">
                <a:defRPr/>
              </a:pPr>
              <a:t>‹#›</a:t>
            </a:fld>
            <a:endParaRPr lang="en-US" sz="824" dirty="0">
              <a:solidFill>
                <a:srgbClr val="464646"/>
              </a:solidFill>
            </a:endParaRPr>
          </a:p>
        </p:txBody>
      </p:sp>
      <p:pic>
        <p:nvPicPr>
          <p:cNvPr id="7" name="Picture 6" descr="ava_tag_color_rgb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53" y="6370211"/>
            <a:ext cx="1224319" cy="333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381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9">
          <a:solidFill>
            <a:srgbClr val="F86B1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9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9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9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9">
          <a:solidFill>
            <a:schemeClr val="tx2"/>
          </a:solidFill>
          <a:latin typeface="Arial" charset="0"/>
        </a:defRPr>
      </a:lvl5pPr>
      <a:lvl6pPr marL="342780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tx2"/>
          </a:solidFill>
          <a:latin typeface="Arial" charset="0"/>
        </a:defRPr>
      </a:lvl6pPr>
      <a:lvl7pPr marL="685559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tx2"/>
          </a:solidFill>
          <a:latin typeface="Arial" charset="0"/>
        </a:defRPr>
      </a:lvl7pPr>
      <a:lvl8pPr marL="1028339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tx2"/>
          </a:solidFill>
          <a:latin typeface="Arial" charset="0"/>
        </a:defRPr>
      </a:lvl8pPr>
      <a:lvl9pPr marL="1371118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tx2"/>
          </a:solidFill>
          <a:latin typeface="Arial" charset="0"/>
        </a:defRPr>
      </a:lvl9pPr>
    </p:titleStyle>
    <p:bodyStyle>
      <a:lvl1pPr marL="130924" indent="-130924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Char char="•"/>
        <a:defRPr sz="1200">
          <a:solidFill>
            <a:srgbClr val="646464"/>
          </a:solidFill>
          <a:latin typeface="+mn-lt"/>
          <a:ea typeface="+mn-ea"/>
          <a:cs typeface="+mn-cs"/>
        </a:defRPr>
      </a:lvl1pPr>
      <a:lvl2pPr marL="317786" indent="-154727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rgbClr val="646464"/>
          </a:solidFill>
          <a:latin typeface="+mn-lt"/>
        </a:defRPr>
      </a:lvl2pPr>
      <a:lvl3pPr marL="489176" indent="-146395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Wingdings" pitchFamily="2" charset="2"/>
        <a:buChar char="§"/>
        <a:defRPr sz="1200">
          <a:solidFill>
            <a:srgbClr val="646464"/>
          </a:solidFill>
          <a:latin typeface="+mn-lt"/>
        </a:defRPr>
      </a:lvl3pPr>
      <a:lvl4pPr marL="660565" indent="-146395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rgbClr val="646464"/>
          </a:solidFill>
          <a:latin typeface="+mn-lt"/>
        </a:defRPr>
      </a:lvl4pPr>
      <a:lvl5pPr marL="816482" indent="-130924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Arial"/>
        <a:buChar char="•"/>
        <a:defRPr sz="1200">
          <a:solidFill>
            <a:srgbClr val="646464"/>
          </a:solidFill>
          <a:latin typeface="+mn-lt"/>
        </a:defRPr>
      </a:lvl5pPr>
      <a:lvl6pPr marL="1159262" indent="-130924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1502042" indent="-130924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1844821" indent="-130924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2187600" indent="-130924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559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80" algn="l" defTabSz="685559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559" algn="l" defTabSz="685559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339" algn="l" defTabSz="685559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1118" algn="l" defTabSz="685559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898" algn="l" defTabSz="685559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677" algn="l" defTabSz="685559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457" algn="l" defTabSz="685559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2236" algn="l" defTabSz="685559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va_tag_color_rgb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55" y="6370212"/>
            <a:ext cx="1224320" cy="333427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3805" y="263526"/>
            <a:ext cx="10644465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4771" y="1092200"/>
            <a:ext cx="9915138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29009" y="823478"/>
            <a:ext cx="10655535" cy="182261"/>
          </a:xfrm>
          <a:prstGeom prst="rect">
            <a:avLst/>
          </a:prstGeom>
          <a:solidFill>
            <a:schemeClr val="bg2">
              <a:lumMod val="75000"/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2" rIns="68543" bIns="34272" rtlCol="0" anchor="ctr"/>
          <a:lstStyle/>
          <a:p>
            <a:pPr algn="ctr" defTabSz="455509"/>
            <a:endParaRPr lang="en-US" sz="1798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3804" y="823478"/>
            <a:ext cx="735204" cy="182261"/>
          </a:xfrm>
          <a:prstGeom prst="rect">
            <a:avLst/>
          </a:prstGeom>
          <a:solidFill>
            <a:srgbClr val="FF58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2" rIns="68543" bIns="34272" rtlCol="0" anchor="ctr"/>
          <a:lstStyle/>
          <a:p>
            <a:pPr algn="ctr" defTabSz="455509"/>
            <a:endParaRPr lang="en-US" sz="1798">
              <a:solidFill>
                <a:srgbClr val="FFFFFF"/>
              </a:solidFill>
            </a:endParaRPr>
          </a:p>
        </p:txBody>
      </p:sp>
      <p:sp>
        <p:nvSpPr>
          <p:cNvPr id="18" name="Rectangle 5"/>
          <p:cNvSpPr txBox="1">
            <a:spLocks noChangeArrowheads="1"/>
          </p:cNvSpPr>
          <p:nvPr userDrawn="1"/>
        </p:nvSpPr>
        <p:spPr bwMode="auto">
          <a:xfrm>
            <a:off x="4852504" y="6531625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455509">
              <a:lnSpc>
                <a:spcPct val="90000"/>
              </a:lnSpc>
              <a:spcAft>
                <a:spcPct val="30000"/>
              </a:spcAft>
            </a:pPr>
            <a:r>
              <a:rPr lang="en-US" sz="450" dirty="0">
                <a:solidFill>
                  <a:srgbClr val="464646"/>
                </a:solidFill>
              </a:rPr>
              <a:t>© 2016 Avanade Inc. All Rights Reserved.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129009" y="823476"/>
            <a:ext cx="10655535" cy="5296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2" rIns="68543" bIns="34272" rtlCol="0" anchor="ctr"/>
          <a:lstStyle/>
          <a:p>
            <a:pPr algn="ctr" defTabSz="455509"/>
            <a:endParaRPr lang="en-US" sz="1798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393804" y="823477"/>
            <a:ext cx="735205" cy="52961"/>
          </a:xfrm>
          <a:prstGeom prst="rect">
            <a:avLst/>
          </a:prstGeom>
          <a:solidFill>
            <a:srgbClr val="FF5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2" rIns="68543" bIns="34272" rtlCol="0" anchor="ctr"/>
          <a:lstStyle/>
          <a:p>
            <a:pPr algn="ctr" defTabSz="455509"/>
            <a:endParaRPr lang="en-US" sz="1798">
              <a:solidFill>
                <a:srgbClr val="FFFFFF"/>
              </a:solidFill>
            </a:endParaRPr>
          </a:p>
        </p:txBody>
      </p:sp>
      <p:sp>
        <p:nvSpPr>
          <p:cNvPr id="8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78143" y="6504260"/>
            <a:ext cx="406400" cy="19937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824">
                <a:solidFill>
                  <a:schemeClr val="tx2"/>
                </a:solidFill>
              </a:defRPr>
            </a:lvl1pPr>
          </a:lstStyle>
          <a:p>
            <a:pPr defTabSz="455509"/>
            <a:fld id="{5FF2E63E-D57D-4EFD-8380-089500058C9E}" type="slidenum">
              <a:rPr lang="en-US" smtClean="0">
                <a:solidFill>
                  <a:srgbClr val="464646"/>
                </a:solidFill>
              </a:rPr>
              <a:pPr defTabSz="455509"/>
              <a:t>‹#›</a:t>
            </a:fld>
            <a:endParaRPr lang="en-US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53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30000"/>
        </a:spcAft>
        <a:defRPr sz="1649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8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8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8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defRPr sz="2398">
          <a:solidFill>
            <a:schemeClr val="tx2"/>
          </a:solidFill>
          <a:latin typeface="Arial" charset="0"/>
        </a:defRPr>
      </a:lvl5pPr>
      <a:lvl6pPr marL="342688" algn="l" rtl="0" eaLnBrk="1" fontAlgn="base" hangingPunct="1">
        <a:spcBef>
          <a:spcPct val="0"/>
        </a:spcBef>
        <a:spcAft>
          <a:spcPct val="0"/>
        </a:spcAft>
        <a:defRPr sz="2398" b="1">
          <a:solidFill>
            <a:schemeClr val="tx2"/>
          </a:solidFill>
          <a:latin typeface="Arial" charset="0"/>
        </a:defRPr>
      </a:lvl6pPr>
      <a:lvl7pPr marL="685376" algn="l" rtl="0" eaLnBrk="1" fontAlgn="base" hangingPunct="1">
        <a:spcBef>
          <a:spcPct val="0"/>
        </a:spcBef>
        <a:spcAft>
          <a:spcPct val="0"/>
        </a:spcAft>
        <a:defRPr sz="2398" b="1">
          <a:solidFill>
            <a:schemeClr val="tx2"/>
          </a:solidFill>
          <a:latin typeface="Arial" charset="0"/>
        </a:defRPr>
      </a:lvl7pPr>
      <a:lvl8pPr marL="1028065" algn="l" rtl="0" eaLnBrk="1" fontAlgn="base" hangingPunct="1">
        <a:spcBef>
          <a:spcPct val="0"/>
        </a:spcBef>
        <a:spcAft>
          <a:spcPct val="0"/>
        </a:spcAft>
        <a:defRPr sz="2398" b="1">
          <a:solidFill>
            <a:schemeClr val="tx2"/>
          </a:solidFill>
          <a:latin typeface="Arial" charset="0"/>
        </a:defRPr>
      </a:lvl8pPr>
      <a:lvl9pPr marL="1370752" algn="l" rtl="0" eaLnBrk="1" fontAlgn="base" hangingPunct="1">
        <a:spcBef>
          <a:spcPct val="0"/>
        </a:spcBef>
        <a:spcAft>
          <a:spcPct val="0"/>
        </a:spcAft>
        <a:defRPr sz="2398" b="1">
          <a:solidFill>
            <a:schemeClr val="tx2"/>
          </a:solidFill>
          <a:latin typeface="Arial" charset="0"/>
        </a:defRPr>
      </a:lvl9pPr>
    </p:titleStyle>
    <p:bodyStyle>
      <a:lvl1pPr marL="130889" indent="-130889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Char char="•"/>
        <a:defRPr sz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17700" indent="-154686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chemeClr val="bg2">
              <a:lumMod val="50000"/>
            </a:schemeClr>
          </a:solidFill>
          <a:latin typeface="+mn-lt"/>
        </a:defRPr>
      </a:lvl2pPr>
      <a:lvl3pPr marL="489045" indent="-146357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Wingdings" pitchFamily="2" charset="2"/>
        <a:buChar char="§"/>
        <a:defRPr sz="1200">
          <a:solidFill>
            <a:schemeClr val="bg2">
              <a:lumMod val="50000"/>
            </a:schemeClr>
          </a:solidFill>
          <a:latin typeface="+mn-lt"/>
        </a:defRPr>
      </a:lvl3pPr>
      <a:lvl4pPr marL="660389" indent="-146357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chemeClr val="bg2">
              <a:lumMod val="50000"/>
            </a:schemeClr>
          </a:solidFill>
          <a:latin typeface="+mn-lt"/>
        </a:defRPr>
      </a:lvl4pPr>
      <a:lvl5pPr marL="816265" indent="-130889" algn="l" rtl="0" eaLnBrk="1" fontAlgn="base" hangingPunct="1">
        <a:lnSpc>
          <a:spcPct val="90000"/>
        </a:lnSpc>
        <a:spcBef>
          <a:spcPct val="0"/>
        </a:spcBef>
        <a:spcAft>
          <a:spcPct val="30000"/>
        </a:spcAft>
        <a:buFont typeface="Arial"/>
        <a:buChar char="•"/>
        <a:defRPr sz="1200">
          <a:solidFill>
            <a:schemeClr val="bg2">
              <a:lumMod val="50000"/>
            </a:schemeClr>
          </a:solidFill>
          <a:latin typeface="+mn-lt"/>
        </a:defRPr>
      </a:lvl5pPr>
      <a:lvl6pPr marL="1158953" indent="-130889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1501641" indent="-130889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1844329" indent="-130889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2187018" indent="-130889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688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376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065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752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442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130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818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507" algn="l" defTabSz="68537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7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206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86" r:id="rId2"/>
    <p:sldLayoutId id="2147483687" r:id="rId3"/>
    <p:sldLayoutId id="2147483688" r:id="rId4"/>
    <p:sldLayoutId id="2147483772" r:id="rId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vanadeLogoNoTM_AWColor_RGB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39" y="6069204"/>
            <a:ext cx="1494933" cy="5486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60792" y="390719"/>
            <a:ext cx="10270415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96600" y="6584960"/>
            <a:ext cx="457200" cy="266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>
                <a:solidFill>
                  <a:schemeClr val="tx1">
                    <a:tint val="7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960793" y="0"/>
            <a:ext cx="10270414" cy="203287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89007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/>
          <p:cNvSpPr txBox="1">
            <a:spLocks noChangeArrowheads="1"/>
          </p:cNvSpPr>
          <p:nvPr/>
        </p:nvSpPr>
        <p:spPr bwMode="auto">
          <a:xfrm>
            <a:off x="4665161" y="6260973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514496" y="6274700"/>
            <a:ext cx="277707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5800"/>
                </a:solidFill>
              </a:rPr>
              <a:t>&lt;Highly Confidential&gt; </a:t>
            </a:r>
            <a:r>
              <a:rPr lang="en-US" sz="700" dirty="0">
                <a:solidFill>
                  <a:srgbClr val="464646"/>
                </a:solidFill>
              </a:rPr>
              <a:t>See Avanade’s </a:t>
            </a:r>
            <a:r>
              <a:rPr lang="en-US" sz="700" dirty="0">
                <a:solidFill>
                  <a:srgbClr val="FF5800"/>
                </a:solidFill>
                <a:hlinkClick r:id="rId14"/>
              </a:rPr>
              <a:t>Data Management Policy</a:t>
            </a:r>
            <a:endParaRPr lang="en-US" sz="700" dirty="0">
              <a:solidFill>
                <a:srgbClr val="FF5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27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90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92" r:id="rId9"/>
    <p:sldLayoutId id="2147483693" r:id="rId10"/>
    <p:sldLayoutId id="2147483770" r:id="rId11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60792" y="390719"/>
            <a:ext cx="10270415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96600" y="6584960"/>
            <a:ext cx="457200" cy="266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>
                <a:solidFill>
                  <a:schemeClr val="tx1">
                    <a:tint val="7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960793" y="0"/>
            <a:ext cx="10270414" cy="203287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89007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8876480" y="6272968"/>
            <a:ext cx="241590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5800"/>
                </a:solidFill>
              </a:rPr>
              <a:t>&lt;Confidential&gt; </a:t>
            </a:r>
            <a:r>
              <a:rPr lang="en-US" sz="700" dirty="0">
                <a:solidFill>
                  <a:srgbClr val="464646"/>
                </a:solidFill>
              </a:rPr>
              <a:t>See Avanade’s </a:t>
            </a:r>
            <a:r>
              <a:rPr lang="en-US" sz="700" dirty="0">
                <a:solidFill>
                  <a:srgbClr val="FF5800"/>
                </a:solidFill>
                <a:hlinkClick r:id="rId7"/>
              </a:rPr>
              <a:t>Data Management Policy</a:t>
            </a:r>
            <a:endParaRPr lang="en-US" sz="700" dirty="0">
              <a:solidFill>
                <a:srgbClr val="FF5800"/>
              </a:solidFill>
            </a:endParaRPr>
          </a:p>
        </p:txBody>
      </p:sp>
      <p:pic>
        <p:nvPicPr>
          <p:cNvPr id="9" name="Picture 8" descr="AvanadeLogoNoTM_AWColor_RGB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39" y="6069204"/>
            <a:ext cx="1494933" cy="548639"/>
          </a:xfrm>
          <a:prstGeom prst="rect">
            <a:avLst/>
          </a:prstGeom>
        </p:spPr>
      </p:pic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4665161" y="6260973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05800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8875659" y="6272986"/>
            <a:ext cx="241590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5800"/>
                </a:solidFill>
              </a:rPr>
              <a:t>&lt;Restricted&gt; </a:t>
            </a:r>
            <a:r>
              <a:rPr lang="en-US" sz="700" dirty="0">
                <a:solidFill>
                  <a:srgbClr val="464646"/>
                </a:solidFill>
              </a:rPr>
              <a:t>See Avanade’s </a:t>
            </a:r>
            <a:r>
              <a:rPr lang="en-US" sz="700" dirty="0">
                <a:solidFill>
                  <a:srgbClr val="FF5800"/>
                </a:solidFill>
                <a:hlinkClick r:id="rId7"/>
              </a:rPr>
              <a:t>Data Management Policy</a:t>
            </a:r>
            <a:endParaRPr lang="en-US" sz="700" dirty="0">
              <a:solidFill>
                <a:srgbClr val="FF58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60792" y="390719"/>
            <a:ext cx="10270415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96600" y="6584960"/>
            <a:ext cx="457200" cy="266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>
                <a:solidFill>
                  <a:schemeClr val="tx1">
                    <a:tint val="7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960793" y="0"/>
            <a:ext cx="10270414" cy="203287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89007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vanadeLogoNoTM_AWColor_RGB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39" y="6069204"/>
            <a:ext cx="1494933" cy="548639"/>
          </a:xfrm>
          <a:prstGeom prst="rect">
            <a:avLst/>
          </a:prstGeom>
        </p:spPr>
      </p:pic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4665161" y="6260973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32756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5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07673"/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 defTabSz="607673"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0"/>
            <a:ext cx="12192000" cy="1016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7673"/>
            <a:endParaRPr lang="en-US" sz="2400" dirty="0">
              <a:solidFill>
                <a:srgbClr val="FFC000"/>
              </a:solidFill>
            </a:endParaRPr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5"/>
          <p:cNvSpPr txBox="1">
            <a:spLocks noChangeArrowheads="1"/>
          </p:cNvSpPr>
          <p:nvPr/>
        </p:nvSpPr>
        <p:spPr bwMode="auto">
          <a:xfrm>
            <a:off x="4852502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srgbClr val="BCBDBC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6 Avanade Inc. All Rights Reserved.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31919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</p:sldLayoutIdLs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AU" sz="2800" kern="1200" dirty="0">
          <a:solidFill>
            <a:srgbClr val="FF5800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17" imgW="425" imgH="426" progId="TCLayout.ActiveDocument.1">
                  <p:embed/>
                </p:oleObj>
              </mc:Choice>
              <mc:Fallback>
                <p:oleObj name="think-cell Slide" r:id="rId1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5468" y="1182102"/>
            <a:ext cx="10941073" cy="5254783"/>
          </a:xfrm>
          <a:prstGeom prst="rect">
            <a:avLst/>
          </a:prstGeom>
        </p:spPr>
        <p:txBody>
          <a:bodyPr vert="horz" lIns="0" tIns="60937" rIns="0" bIns="60937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  <a:prstGeom prst="rect">
            <a:avLst/>
          </a:prstGeom>
        </p:spPr>
        <p:txBody>
          <a:bodyPr vert="horz" lIns="0" tIns="60937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10888492" y="6537399"/>
            <a:ext cx="677794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defTabSz="914217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ea typeface="Segoe UI Symbol"/>
                <a:sym typeface="Segoe UI Symbol"/>
              </a:rPr>
              <a:pPr defTabSz="914217">
                <a:defRPr/>
              </a:pPr>
              <a:t>‹#›</a:t>
            </a:fld>
            <a:endParaRPr lang="en-US" dirty="0">
              <a:solidFill>
                <a:srgbClr val="666666"/>
              </a:solidFill>
              <a:ea typeface="Segoe UI Symbol"/>
              <a:sym typeface="Segoe UI Symbo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625468" y="6537399"/>
            <a:ext cx="5366096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1000">
                <a:solidFill>
                  <a:schemeClr val="tx2"/>
                </a:solidFill>
              </a:defRPr>
            </a:lvl1pPr>
          </a:lstStyle>
          <a:p>
            <a:pPr defTabSz="914217"/>
            <a:endParaRPr lang="en-US" dirty="0">
              <a:solidFill>
                <a:srgbClr val="666666"/>
              </a:solidFill>
              <a:ea typeface="Segoe UI Symbol"/>
              <a:sym typeface="Segoe UI Symbol"/>
            </a:endParaRPr>
          </a:p>
        </p:txBody>
      </p:sp>
    </p:spTree>
    <p:extLst>
      <p:ext uri="{BB962C8B-B14F-4D97-AF65-F5344CB8AC3E}">
        <p14:creationId xmlns:p14="http://schemas.microsoft.com/office/powerpoint/2010/main" val="2284233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3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24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49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748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6998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82489" indent="-182489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449083" indent="-266594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625225" indent="-17614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tabLst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898165" indent="-272940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1074308" indent="-17614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3350873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123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372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8621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249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499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748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998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249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498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747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997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8">
          <p15:clr>
            <a:srgbClr val="F26B43"/>
          </p15:clr>
        </p15:guide>
        <p15:guide id="2" pos="3951">
          <p15:clr>
            <a:srgbClr val="F26B43"/>
          </p15:clr>
        </p15:guide>
        <p15:guide id="3" pos="3725">
          <p15:clr>
            <a:srgbClr val="F26B43"/>
          </p15:clr>
        </p15:guide>
        <p15:guide id="4" pos="391">
          <p15:clr>
            <a:srgbClr val="F26B43"/>
          </p15:clr>
        </p15:guide>
        <p15:guide id="5" pos="7285">
          <p15:clr>
            <a:srgbClr val="F26B43"/>
          </p15:clr>
        </p15:guide>
        <p15:guide id="6" orient="horz" pos="640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4042">
          <p15:clr>
            <a:srgbClr val="F26B43"/>
          </p15:clr>
        </p15:guide>
        <p15:guide id="9" orient="horz" pos="102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5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07673"/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 defTabSz="607673"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0"/>
            <a:ext cx="12192000" cy="1016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7673"/>
            <a:endParaRPr lang="en-US" sz="2400" dirty="0">
              <a:solidFill>
                <a:srgbClr val="FFC000"/>
              </a:solidFill>
            </a:endParaRPr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5"/>
          <p:cNvSpPr txBox="1">
            <a:spLocks noChangeArrowheads="1"/>
          </p:cNvSpPr>
          <p:nvPr/>
        </p:nvSpPr>
        <p:spPr bwMode="auto">
          <a:xfrm>
            <a:off x="4852502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srgbClr val="BCBDBC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6 Avanade Inc. All Rights Reserved.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73608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1" r:id="rId3"/>
    <p:sldLayoutId id="2147483722" r:id="rId4"/>
    <p:sldLayoutId id="2147483723" r:id="rId5"/>
    <p:sldLayoutId id="2147483724" r:id="rId6"/>
  </p:sldLayoutIdLs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AU" sz="2800" kern="1200" dirty="0">
          <a:solidFill>
            <a:srgbClr val="FF5800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5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07673"/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 defTabSz="607673"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0"/>
            <a:ext cx="12192000" cy="1016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7673"/>
            <a:endParaRPr lang="en-US" sz="2400" dirty="0">
              <a:solidFill>
                <a:srgbClr val="FFC000"/>
              </a:solidFill>
            </a:endParaRPr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5"/>
          <p:cNvSpPr txBox="1">
            <a:spLocks noChangeArrowheads="1"/>
          </p:cNvSpPr>
          <p:nvPr/>
        </p:nvSpPr>
        <p:spPr bwMode="auto">
          <a:xfrm>
            <a:off x="4852502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srgbClr val="BCBDBC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6 Avanade Inc. All Rights Reserved.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78006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</p:sldLayoutIdLs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AU" sz="2800" kern="1200" dirty="0">
          <a:solidFill>
            <a:srgbClr val="FF5800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dvanced Analytics Bootcamp</a:t>
            </a:r>
          </a:p>
          <a:p>
            <a:r>
              <a:rPr lang="en-US" sz="2800">
                <a:latin typeface="Calibri" panose="020F0502020204030204" pitchFamily="34" charset="0"/>
              </a:rPr>
              <a:t>Module 4: </a:t>
            </a:r>
            <a:r>
              <a:rPr lang="en-US" sz="2800" dirty="0">
                <a:latin typeface="Calibri" panose="020F0502020204030204" pitchFamily="34" charset="0"/>
              </a:rPr>
              <a:t>Decision Trees</a:t>
            </a:r>
            <a:br>
              <a:rPr lang="en-US" sz="2800" dirty="0"/>
            </a:br>
            <a:r>
              <a:rPr lang="en-US" sz="2800" dirty="0">
                <a:latin typeface="Calibri" panose="020F0502020204030204" pitchFamily="34" charset="0"/>
              </a:rPr>
              <a:t>Learning &amp; Development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86240052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24892" defTabSz="896112">
              <a:lnSpc>
                <a:spcPts val="1210"/>
              </a:lnSpc>
            </a:pPr>
            <a:fld id="{81D60167-4931-47E6-BA6A-407CBD079E47}" type="slidenum">
              <a:rPr spc="15" dirty="0">
                <a:solidFill>
                  <a:srgbClr val="464646"/>
                </a:solidFill>
                <a:latin typeface="Arial"/>
              </a:rPr>
              <a:pPr marL="24892" defTabSz="896112">
                <a:lnSpc>
                  <a:spcPts val="1210"/>
                </a:lnSpc>
              </a:pPr>
              <a:t>10</a:t>
            </a:fld>
            <a:endParaRPr spc="15" dirty="0">
              <a:solidFill>
                <a:srgbClr val="464646"/>
              </a:solidFill>
              <a:latin typeface="Arial"/>
            </a:endParaRPr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25306" y="1228437"/>
            <a:ext cx="1940260" cy="410369"/>
          </a:xfrm>
          <a:prstGeom prst="rect">
            <a:avLst/>
          </a:prstGeom>
          <a:solidFill>
            <a:srgbClr val="0070C0"/>
          </a:solidFill>
          <a:ln w="25908">
            <a:solidFill>
              <a:schemeClr val="tx1"/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75921" algn="ctr">
              <a:lnSpc>
                <a:spcPts val="3161"/>
              </a:lnSpc>
            </a:pPr>
            <a:r>
              <a:rPr sz="2744" kern="1200" spc="-10" dirty="0">
                <a:solidFill>
                  <a:schemeClr val="bg1"/>
                </a:solidFill>
                <a:latin typeface="+mn-lt"/>
                <a:ea typeface="+mn-ea"/>
                <a:cs typeface="Microsoft Uighur"/>
              </a:rPr>
              <a:t>Outlook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6614288" y="1478484"/>
            <a:ext cx="1792398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dirty="0">
                <a:solidFill>
                  <a:srgbClr val="1F497D"/>
                </a:solidFill>
                <a:cs typeface="Segoe UI Light"/>
              </a:rPr>
              <a:t>9 yes and 5 No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1247284" y="2362487"/>
            <a:ext cx="1297899" cy="410369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marL="75298" algn="ctr" defTabSz="896112">
              <a:lnSpc>
                <a:spcPts val="3170"/>
              </a:lnSpc>
            </a:pPr>
            <a:r>
              <a:rPr sz="2744" spc="-10" dirty="0">
                <a:solidFill>
                  <a:prstClr val="white"/>
                </a:solidFill>
                <a:cs typeface="Microsoft Uighur"/>
              </a:rPr>
              <a:t>Sunny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4646852" y="2608530"/>
            <a:ext cx="1808979" cy="410369"/>
          </a:xfrm>
          <a:prstGeom prst="rect">
            <a:avLst/>
          </a:prstGeom>
          <a:solidFill>
            <a:srgbClr val="0070C0"/>
          </a:solidFill>
          <a:ln w="25908">
            <a:solidFill>
              <a:schemeClr val="tx1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marL="75921" algn="ctr" defTabSz="896112">
              <a:lnSpc>
                <a:spcPts val="3170"/>
              </a:lnSpc>
            </a:pPr>
            <a:r>
              <a:rPr sz="2744" spc="-10" dirty="0">
                <a:solidFill>
                  <a:prstClr val="white"/>
                </a:solidFill>
                <a:cs typeface="Microsoft Uighur"/>
              </a:rPr>
              <a:t>Overcast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9711145" y="2221398"/>
            <a:ext cx="842500" cy="410369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marL="77165" algn="ctr" defTabSz="896112">
              <a:lnSpc>
                <a:spcPts val="3164"/>
              </a:lnSpc>
            </a:pPr>
            <a:r>
              <a:rPr sz="2744" spc="-10" dirty="0">
                <a:solidFill>
                  <a:srgbClr val="EEECE1"/>
                </a:solidFill>
                <a:cs typeface="Microsoft Uighur"/>
              </a:rPr>
              <a:t>Rain</a:t>
            </a:r>
          </a:p>
        </p:txBody>
      </p:sp>
      <p:graphicFrame>
        <p:nvGraphicFramePr>
          <p:cNvPr id="9" name="object 9"/>
          <p:cNvGraphicFramePr>
            <a:graphicFrameLocks noGrp="1"/>
          </p:cNvGraphicFramePr>
          <p:nvPr>
            <p:extLst/>
          </p:nvPr>
        </p:nvGraphicFramePr>
        <p:xfrm>
          <a:off x="2401658" y="4721334"/>
          <a:ext cx="1819435" cy="7808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749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4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1493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ind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Play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091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9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231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1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" name="object 10"/>
          <p:cNvGraphicFramePr>
            <a:graphicFrameLocks noGrp="1"/>
          </p:cNvGraphicFramePr>
          <p:nvPr>
            <p:extLst/>
          </p:nvPr>
        </p:nvGraphicFramePr>
        <p:xfrm>
          <a:off x="7996050" y="4610635"/>
          <a:ext cx="1914698" cy="98418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9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87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60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umidity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Play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369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igh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13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5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0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" name="object 11"/>
          <p:cNvSpPr/>
          <p:nvPr/>
        </p:nvSpPr>
        <p:spPr>
          <a:xfrm>
            <a:off x="5541527" y="1837908"/>
            <a:ext cx="80590" cy="762897"/>
          </a:xfrm>
          <a:custGeom>
            <a:avLst/>
            <a:gdLst/>
            <a:ahLst/>
            <a:cxnLst/>
            <a:rect l="l" t="t" r="r" b="b"/>
            <a:pathLst>
              <a:path w="111760" h="1108075">
                <a:moveTo>
                  <a:pt x="11049" y="1000887"/>
                </a:moveTo>
                <a:lnTo>
                  <a:pt x="6350" y="1003680"/>
                </a:lnTo>
                <a:lnTo>
                  <a:pt x="1524" y="1006347"/>
                </a:lnTo>
                <a:lnTo>
                  <a:pt x="0" y="1012443"/>
                </a:lnTo>
                <a:lnTo>
                  <a:pt x="2793" y="1017142"/>
                </a:lnTo>
                <a:lnTo>
                  <a:pt x="55752" y="1108075"/>
                </a:lnTo>
                <a:lnTo>
                  <a:pt x="67217" y="1088389"/>
                </a:lnTo>
                <a:lnTo>
                  <a:pt x="45847" y="1088389"/>
                </a:lnTo>
                <a:lnTo>
                  <a:pt x="45847" y="1051868"/>
                </a:lnTo>
                <a:lnTo>
                  <a:pt x="19812" y="1007237"/>
                </a:lnTo>
                <a:lnTo>
                  <a:pt x="17145" y="1002538"/>
                </a:lnTo>
                <a:lnTo>
                  <a:pt x="11049" y="1000887"/>
                </a:lnTo>
                <a:close/>
              </a:path>
              <a:path w="111760" h="1108075">
                <a:moveTo>
                  <a:pt x="45847" y="1051868"/>
                </a:moveTo>
                <a:lnTo>
                  <a:pt x="45847" y="1088389"/>
                </a:lnTo>
                <a:lnTo>
                  <a:pt x="65659" y="1088389"/>
                </a:lnTo>
                <a:lnTo>
                  <a:pt x="65659" y="1083437"/>
                </a:lnTo>
                <a:lnTo>
                  <a:pt x="47243" y="1083437"/>
                </a:lnTo>
                <a:lnTo>
                  <a:pt x="55752" y="1068850"/>
                </a:lnTo>
                <a:lnTo>
                  <a:pt x="45847" y="1051868"/>
                </a:lnTo>
                <a:close/>
              </a:path>
              <a:path w="111760" h="1108075">
                <a:moveTo>
                  <a:pt x="100457" y="1000887"/>
                </a:moveTo>
                <a:lnTo>
                  <a:pt x="94361" y="1002538"/>
                </a:lnTo>
                <a:lnTo>
                  <a:pt x="91693" y="1007237"/>
                </a:lnTo>
                <a:lnTo>
                  <a:pt x="65659" y="1051868"/>
                </a:lnTo>
                <a:lnTo>
                  <a:pt x="65659" y="1088389"/>
                </a:lnTo>
                <a:lnTo>
                  <a:pt x="67217" y="1088389"/>
                </a:lnTo>
                <a:lnTo>
                  <a:pt x="108712" y="1017142"/>
                </a:lnTo>
                <a:lnTo>
                  <a:pt x="111505" y="1012443"/>
                </a:lnTo>
                <a:lnTo>
                  <a:pt x="109982" y="1006347"/>
                </a:lnTo>
                <a:lnTo>
                  <a:pt x="105155" y="1003680"/>
                </a:lnTo>
                <a:lnTo>
                  <a:pt x="100457" y="1000887"/>
                </a:lnTo>
                <a:close/>
              </a:path>
              <a:path w="111760" h="1108075">
                <a:moveTo>
                  <a:pt x="55752" y="1068850"/>
                </a:moveTo>
                <a:lnTo>
                  <a:pt x="47243" y="1083437"/>
                </a:lnTo>
                <a:lnTo>
                  <a:pt x="64262" y="1083437"/>
                </a:lnTo>
                <a:lnTo>
                  <a:pt x="55752" y="1068850"/>
                </a:lnTo>
                <a:close/>
              </a:path>
              <a:path w="111760" h="1108075">
                <a:moveTo>
                  <a:pt x="65659" y="1051868"/>
                </a:moveTo>
                <a:lnTo>
                  <a:pt x="55752" y="1068850"/>
                </a:lnTo>
                <a:lnTo>
                  <a:pt x="64262" y="1083437"/>
                </a:lnTo>
                <a:lnTo>
                  <a:pt x="65659" y="1083437"/>
                </a:lnTo>
                <a:lnTo>
                  <a:pt x="65659" y="1051868"/>
                </a:lnTo>
                <a:close/>
              </a:path>
              <a:path w="111760" h="1108075">
                <a:moveTo>
                  <a:pt x="65659" y="0"/>
                </a:moveTo>
                <a:lnTo>
                  <a:pt x="45847" y="0"/>
                </a:lnTo>
                <a:lnTo>
                  <a:pt x="45847" y="1051868"/>
                </a:lnTo>
                <a:lnTo>
                  <a:pt x="55752" y="1068850"/>
                </a:lnTo>
                <a:lnTo>
                  <a:pt x="65659" y="1051868"/>
                </a:lnTo>
                <a:lnTo>
                  <a:pt x="65659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930508" y="1814850"/>
            <a:ext cx="3691609" cy="576778"/>
          </a:xfrm>
          <a:custGeom>
            <a:avLst/>
            <a:gdLst/>
            <a:ahLst/>
            <a:cxnLst/>
            <a:rect l="l" t="t" r="r" b="b"/>
            <a:pathLst>
              <a:path w="3853179" h="600710">
                <a:moveTo>
                  <a:pt x="86740" y="489966"/>
                </a:moveTo>
                <a:lnTo>
                  <a:pt x="0" y="558673"/>
                </a:lnTo>
                <a:lnTo>
                  <a:pt x="102488" y="600329"/>
                </a:lnTo>
                <a:lnTo>
                  <a:pt x="108203" y="597916"/>
                </a:lnTo>
                <a:lnTo>
                  <a:pt x="110362" y="592836"/>
                </a:lnTo>
                <a:lnTo>
                  <a:pt x="112394" y="587756"/>
                </a:lnTo>
                <a:lnTo>
                  <a:pt x="109981" y="582041"/>
                </a:lnTo>
                <a:lnTo>
                  <a:pt x="104901" y="579882"/>
                </a:lnTo>
                <a:lnTo>
                  <a:pt x="69805" y="565658"/>
                </a:lnTo>
                <a:lnTo>
                  <a:pt x="20827" y="565658"/>
                </a:lnTo>
                <a:lnTo>
                  <a:pt x="18033" y="546100"/>
                </a:lnTo>
                <a:lnTo>
                  <a:pt x="54197" y="540946"/>
                </a:lnTo>
                <a:lnTo>
                  <a:pt x="99059" y="505460"/>
                </a:lnTo>
                <a:lnTo>
                  <a:pt x="99694" y="499237"/>
                </a:lnTo>
                <a:lnTo>
                  <a:pt x="96393" y="494919"/>
                </a:lnTo>
                <a:lnTo>
                  <a:pt x="92963" y="490600"/>
                </a:lnTo>
                <a:lnTo>
                  <a:pt x="86740" y="489966"/>
                </a:lnTo>
                <a:close/>
              </a:path>
              <a:path w="3853179" h="600710">
                <a:moveTo>
                  <a:pt x="54197" y="540946"/>
                </a:moveTo>
                <a:lnTo>
                  <a:pt x="18033" y="546100"/>
                </a:lnTo>
                <a:lnTo>
                  <a:pt x="20827" y="565658"/>
                </a:lnTo>
                <a:lnTo>
                  <a:pt x="35087" y="563626"/>
                </a:lnTo>
                <a:lnTo>
                  <a:pt x="25526" y="563626"/>
                </a:lnTo>
                <a:lnTo>
                  <a:pt x="23113" y="546735"/>
                </a:lnTo>
                <a:lnTo>
                  <a:pt x="46880" y="546735"/>
                </a:lnTo>
                <a:lnTo>
                  <a:pt x="54197" y="540946"/>
                </a:lnTo>
                <a:close/>
              </a:path>
              <a:path w="3853179" h="600710">
                <a:moveTo>
                  <a:pt x="57064" y="560494"/>
                </a:moveTo>
                <a:lnTo>
                  <a:pt x="20827" y="565658"/>
                </a:lnTo>
                <a:lnTo>
                  <a:pt x="69805" y="565658"/>
                </a:lnTo>
                <a:lnTo>
                  <a:pt x="57064" y="560494"/>
                </a:lnTo>
                <a:close/>
              </a:path>
              <a:path w="3853179" h="600710">
                <a:moveTo>
                  <a:pt x="23113" y="546735"/>
                </a:moveTo>
                <a:lnTo>
                  <a:pt x="25526" y="563626"/>
                </a:lnTo>
                <a:lnTo>
                  <a:pt x="38828" y="553103"/>
                </a:lnTo>
                <a:lnTo>
                  <a:pt x="23113" y="546735"/>
                </a:lnTo>
                <a:close/>
              </a:path>
              <a:path w="3853179" h="600710">
                <a:moveTo>
                  <a:pt x="38828" y="553103"/>
                </a:moveTo>
                <a:lnTo>
                  <a:pt x="25526" y="563626"/>
                </a:lnTo>
                <a:lnTo>
                  <a:pt x="35087" y="563626"/>
                </a:lnTo>
                <a:lnTo>
                  <a:pt x="57064" y="560494"/>
                </a:lnTo>
                <a:lnTo>
                  <a:pt x="38828" y="553103"/>
                </a:lnTo>
                <a:close/>
              </a:path>
              <a:path w="3853179" h="600710">
                <a:moveTo>
                  <a:pt x="3850385" y="0"/>
                </a:moveTo>
                <a:lnTo>
                  <a:pt x="54197" y="540946"/>
                </a:lnTo>
                <a:lnTo>
                  <a:pt x="38828" y="553103"/>
                </a:lnTo>
                <a:lnTo>
                  <a:pt x="57064" y="560494"/>
                </a:lnTo>
                <a:lnTo>
                  <a:pt x="3853179" y="19558"/>
                </a:lnTo>
                <a:lnTo>
                  <a:pt x="3850385" y="0"/>
                </a:lnTo>
                <a:close/>
              </a:path>
              <a:path w="3853179" h="600710">
                <a:moveTo>
                  <a:pt x="46880" y="546735"/>
                </a:moveTo>
                <a:lnTo>
                  <a:pt x="23113" y="546735"/>
                </a:lnTo>
                <a:lnTo>
                  <a:pt x="38828" y="553103"/>
                </a:lnTo>
                <a:lnTo>
                  <a:pt x="46880" y="546735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5603241" y="1838530"/>
            <a:ext cx="4510278" cy="381920"/>
          </a:xfrm>
          <a:custGeom>
            <a:avLst/>
            <a:gdLst/>
            <a:ahLst/>
            <a:cxnLst/>
            <a:rect l="l" t="t" r="r" b="b"/>
            <a:pathLst>
              <a:path w="4522470" h="338455">
                <a:moveTo>
                  <a:pt x="4465667" y="295042"/>
                </a:moveTo>
                <a:lnTo>
                  <a:pt x="4414774" y="320675"/>
                </a:lnTo>
                <a:lnTo>
                  <a:pt x="4412742" y="326644"/>
                </a:lnTo>
                <a:lnTo>
                  <a:pt x="4415282" y="331597"/>
                </a:lnTo>
                <a:lnTo>
                  <a:pt x="4417695" y="336423"/>
                </a:lnTo>
                <a:lnTo>
                  <a:pt x="4423664" y="338454"/>
                </a:lnTo>
                <a:lnTo>
                  <a:pt x="4505314" y="297307"/>
                </a:lnTo>
                <a:lnTo>
                  <a:pt x="4502404" y="297307"/>
                </a:lnTo>
                <a:lnTo>
                  <a:pt x="4465667" y="295042"/>
                </a:lnTo>
                <a:close/>
              </a:path>
              <a:path w="4522470" h="338455">
                <a:moveTo>
                  <a:pt x="4483256" y="286177"/>
                </a:moveTo>
                <a:lnTo>
                  <a:pt x="4465667" y="295042"/>
                </a:lnTo>
                <a:lnTo>
                  <a:pt x="4502404" y="297307"/>
                </a:lnTo>
                <a:lnTo>
                  <a:pt x="4502509" y="295656"/>
                </a:lnTo>
                <a:lnTo>
                  <a:pt x="4497451" y="295656"/>
                </a:lnTo>
                <a:lnTo>
                  <a:pt x="4483256" y="286177"/>
                </a:lnTo>
                <a:close/>
              </a:path>
              <a:path w="4522470" h="338455">
                <a:moveTo>
                  <a:pt x="4430522" y="227075"/>
                </a:moveTo>
                <a:lnTo>
                  <a:pt x="4424426" y="228346"/>
                </a:lnTo>
                <a:lnTo>
                  <a:pt x="4421378" y="232918"/>
                </a:lnTo>
                <a:lnTo>
                  <a:pt x="4418330" y="237362"/>
                </a:lnTo>
                <a:lnTo>
                  <a:pt x="4419473" y="243586"/>
                </a:lnTo>
                <a:lnTo>
                  <a:pt x="4466855" y="275225"/>
                </a:lnTo>
                <a:lnTo>
                  <a:pt x="4503674" y="277495"/>
                </a:lnTo>
                <a:lnTo>
                  <a:pt x="4502404" y="297307"/>
                </a:lnTo>
                <a:lnTo>
                  <a:pt x="4505314" y="297307"/>
                </a:lnTo>
                <a:lnTo>
                  <a:pt x="4522470" y="288671"/>
                </a:lnTo>
                <a:lnTo>
                  <a:pt x="4430522" y="227075"/>
                </a:lnTo>
                <a:close/>
              </a:path>
              <a:path w="4522470" h="338455">
                <a:moveTo>
                  <a:pt x="4498467" y="278511"/>
                </a:moveTo>
                <a:lnTo>
                  <a:pt x="4483256" y="286177"/>
                </a:lnTo>
                <a:lnTo>
                  <a:pt x="4497451" y="295656"/>
                </a:lnTo>
                <a:lnTo>
                  <a:pt x="4498467" y="278511"/>
                </a:lnTo>
                <a:close/>
              </a:path>
              <a:path w="4522470" h="338455">
                <a:moveTo>
                  <a:pt x="4503608" y="278511"/>
                </a:moveTo>
                <a:lnTo>
                  <a:pt x="4498467" y="278511"/>
                </a:lnTo>
                <a:lnTo>
                  <a:pt x="4497451" y="295656"/>
                </a:lnTo>
                <a:lnTo>
                  <a:pt x="4502509" y="295656"/>
                </a:lnTo>
                <a:lnTo>
                  <a:pt x="4503608" y="278511"/>
                </a:lnTo>
                <a:close/>
              </a:path>
              <a:path w="4522470" h="338455">
                <a:moveTo>
                  <a:pt x="1270" y="0"/>
                </a:moveTo>
                <a:lnTo>
                  <a:pt x="0" y="19812"/>
                </a:lnTo>
                <a:lnTo>
                  <a:pt x="4465667" y="295042"/>
                </a:lnTo>
                <a:lnTo>
                  <a:pt x="4483256" y="286177"/>
                </a:lnTo>
                <a:lnTo>
                  <a:pt x="4466855" y="275225"/>
                </a:lnTo>
                <a:lnTo>
                  <a:pt x="1270" y="0"/>
                </a:lnTo>
                <a:close/>
              </a:path>
              <a:path w="4522470" h="338455">
                <a:moveTo>
                  <a:pt x="4466855" y="275225"/>
                </a:moveTo>
                <a:lnTo>
                  <a:pt x="4483256" y="286177"/>
                </a:lnTo>
                <a:lnTo>
                  <a:pt x="4498467" y="278511"/>
                </a:lnTo>
                <a:lnTo>
                  <a:pt x="4503608" y="278511"/>
                </a:lnTo>
                <a:lnTo>
                  <a:pt x="4503674" y="277495"/>
                </a:lnTo>
                <a:lnTo>
                  <a:pt x="4466855" y="275225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graphicFrame>
        <p:nvGraphicFramePr>
          <p:cNvPr id="14" name="object 14"/>
          <p:cNvGraphicFramePr>
            <a:graphicFrameLocks noGrp="1"/>
          </p:cNvGraphicFramePr>
          <p:nvPr>
            <p:extLst/>
          </p:nvPr>
        </p:nvGraphicFramePr>
        <p:xfrm>
          <a:off x="3904251" y="3092823"/>
          <a:ext cx="3594502" cy="140982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39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49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69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48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37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4469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utlook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umidity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ind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Play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vercast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igh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vercast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</a:p>
                  </a:txBody>
                  <a:tcPr marL="0" marR="0" marT="0" marB="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2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vercast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igh</a:t>
                      </a:r>
                    </a:p>
                  </a:txBody>
                  <a:tcPr marL="0" marR="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3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vercast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" name="object 15"/>
          <p:cNvSpPr txBox="1"/>
          <p:nvPr/>
        </p:nvSpPr>
        <p:spPr>
          <a:xfrm>
            <a:off x="4922440" y="4555080"/>
            <a:ext cx="1691848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dirty="0">
                <a:solidFill>
                  <a:srgbClr val="4F81BD"/>
                </a:solidFill>
                <a:cs typeface="Segoe UI Light"/>
              </a:rPr>
              <a:t>4 yes and 0 No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5006070" y="4898448"/>
            <a:ext cx="1341250" cy="306031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34228" rIns="0" bIns="0" rtlCol="0" anchor="ctr">
            <a:spAutoFit/>
          </a:bodyPr>
          <a:lstStyle/>
          <a:p>
            <a:pPr marL="90234" algn="ctr" defTabSz="896112">
              <a:spcBef>
                <a:spcPts val="270"/>
              </a:spcBef>
            </a:pPr>
            <a:r>
              <a:rPr sz="1764" spc="-10" dirty="0">
                <a:solidFill>
                  <a:srgbClr val="FFFFFF"/>
                </a:solidFill>
                <a:cs typeface="Calibri"/>
              </a:rPr>
              <a:t>Pure</a:t>
            </a:r>
            <a:r>
              <a:rPr sz="1764" spc="-83" dirty="0">
                <a:solidFill>
                  <a:srgbClr val="FFFFFF"/>
                </a:solidFill>
                <a:cs typeface="Calibri"/>
              </a:rPr>
              <a:t> </a:t>
            </a:r>
            <a:r>
              <a:rPr sz="1764" spc="-5" dirty="0">
                <a:solidFill>
                  <a:srgbClr val="FFFFFF"/>
                </a:solidFill>
                <a:cs typeface="Calibri"/>
              </a:rPr>
              <a:t>Subset</a:t>
            </a:r>
            <a:endParaRPr sz="1764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963283" y="3139022"/>
            <a:ext cx="1937769" cy="745246"/>
          </a:xfrm>
          <a:custGeom>
            <a:avLst/>
            <a:gdLst/>
            <a:ahLst/>
            <a:cxnLst/>
            <a:rect l="l" t="t" r="r" b="b"/>
            <a:pathLst>
              <a:path w="1644650" h="734695">
                <a:moveTo>
                  <a:pt x="822198" y="0"/>
                </a:moveTo>
                <a:lnTo>
                  <a:pt x="757943" y="1105"/>
                </a:lnTo>
                <a:lnTo>
                  <a:pt x="695041" y="4366"/>
                </a:lnTo>
                <a:lnTo>
                  <a:pt x="633675" y="9701"/>
                </a:lnTo>
                <a:lnTo>
                  <a:pt x="574026" y="17029"/>
                </a:lnTo>
                <a:lnTo>
                  <a:pt x="516279" y="26268"/>
                </a:lnTo>
                <a:lnTo>
                  <a:pt x="460615" y="37335"/>
                </a:lnTo>
                <a:lnTo>
                  <a:pt x="407218" y="50150"/>
                </a:lnTo>
                <a:lnTo>
                  <a:pt x="356270" y="64631"/>
                </a:lnTo>
                <a:lnTo>
                  <a:pt x="307954" y="80696"/>
                </a:lnTo>
                <a:lnTo>
                  <a:pt x="262453" y="98263"/>
                </a:lnTo>
                <a:lnTo>
                  <a:pt x="219950" y="117251"/>
                </a:lnTo>
                <a:lnTo>
                  <a:pt x="180627" y="137577"/>
                </a:lnTo>
                <a:lnTo>
                  <a:pt x="144667" y="159161"/>
                </a:lnTo>
                <a:lnTo>
                  <a:pt x="112253" y="181920"/>
                </a:lnTo>
                <a:lnTo>
                  <a:pt x="58795" y="230638"/>
                </a:lnTo>
                <a:lnTo>
                  <a:pt x="21714" y="283077"/>
                </a:lnTo>
                <a:lnTo>
                  <a:pt x="2473" y="338584"/>
                </a:lnTo>
                <a:lnTo>
                  <a:pt x="0" y="367284"/>
                </a:lnTo>
                <a:lnTo>
                  <a:pt x="2473" y="395983"/>
                </a:lnTo>
                <a:lnTo>
                  <a:pt x="21714" y="451490"/>
                </a:lnTo>
                <a:lnTo>
                  <a:pt x="58795" y="503929"/>
                </a:lnTo>
                <a:lnTo>
                  <a:pt x="112253" y="552647"/>
                </a:lnTo>
                <a:lnTo>
                  <a:pt x="144667" y="575406"/>
                </a:lnTo>
                <a:lnTo>
                  <a:pt x="180627" y="596990"/>
                </a:lnTo>
                <a:lnTo>
                  <a:pt x="219950" y="617316"/>
                </a:lnTo>
                <a:lnTo>
                  <a:pt x="262453" y="636304"/>
                </a:lnTo>
                <a:lnTo>
                  <a:pt x="307954" y="653871"/>
                </a:lnTo>
                <a:lnTo>
                  <a:pt x="356270" y="669936"/>
                </a:lnTo>
                <a:lnTo>
                  <a:pt x="407218" y="684417"/>
                </a:lnTo>
                <a:lnTo>
                  <a:pt x="460615" y="697232"/>
                </a:lnTo>
                <a:lnTo>
                  <a:pt x="516279" y="708299"/>
                </a:lnTo>
                <a:lnTo>
                  <a:pt x="574026" y="717538"/>
                </a:lnTo>
                <a:lnTo>
                  <a:pt x="633675" y="724866"/>
                </a:lnTo>
                <a:lnTo>
                  <a:pt x="695041" y="730201"/>
                </a:lnTo>
                <a:lnTo>
                  <a:pt x="757943" y="733462"/>
                </a:lnTo>
                <a:lnTo>
                  <a:pt x="822198" y="734568"/>
                </a:lnTo>
                <a:lnTo>
                  <a:pt x="886444" y="733462"/>
                </a:lnTo>
                <a:lnTo>
                  <a:pt x="949339" y="730201"/>
                </a:lnTo>
                <a:lnTo>
                  <a:pt x="1010700" y="724866"/>
                </a:lnTo>
                <a:lnTo>
                  <a:pt x="1070345" y="717538"/>
                </a:lnTo>
                <a:lnTo>
                  <a:pt x="1128090" y="708299"/>
                </a:lnTo>
                <a:lnTo>
                  <a:pt x="1183752" y="697232"/>
                </a:lnTo>
                <a:lnTo>
                  <a:pt x="1237149" y="684417"/>
                </a:lnTo>
                <a:lnTo>
                  <a:pt x="1288097" y="669936"/>
                </a:lnTo>
                <a:lnTo>
                  <a:pt x="1336414" y="653871"/>
                </a:lnTo>
                <a:lnTo>
                  <a:pt x="1381917" y="636304"/>
                </a:lnTo>
                <a:lnTo>
                  <a:pt x="1424423" y="617316"/>
                </a:lnTo>
                <a:lnTo>
                  <a:pt x="1463748" y="596990"/>
                </a:lnTo>
                <a:lnTo>
                  <a:pt x="1499711" y="575406"/>
                </a:lnTo>
                <a:lnTo>
                  <a:pt x="1532127" y="552647"/>
                </a:lnTo>
                <a:lnTo>
                  <a:pt x="1585592" y="503929"/>
                </a:lnTo>
                <a:lnTo>
                  <a:pt x="1622677" y="451490"/>
                </a:lnTo>
                <a:lnTo>
                  <a:pt x="1641921" y="395983"/>
                </a:lnTo>
                <a:lnTo>
                  <a:pt x="1644395" y="367284"/>
                </a:lnTo>
                <a:lnTo>
                  <a:pt x="1641921" y="338584"/>
                </a:lnTo>
                <a:lnTo>
                  <a:pt x="1622677" y="283077"/>
                </a:lnTo>
                <a:lnTo>
                  <a:pt x="1585592" y="230638"/>
                </a:lnTo>
                <a:lnTo>
                  <a:pt x="1532128" y="181920"/>
                </a:lnTo>
                <a:lnTo>
                  <a:pt x="1499711" y="159161"/>
                </a:lnTo>
                <a:lnTo>
                  <a:pt x="1463748" y="137577"/>
                </a:lnTo>
                <a:lnTo>
                  <a:pt x="1424423" y="117251"/>
                </a:lnTo>
                <a:lnTo>
                  <a:pt x="1381917" y="98263"/>
                </a:lnTo>
                <a:lnTo>
                  <a:pt x="1336414" y="80696"/>
                </a:lnTo>
                <a:lnTo>
                  <a:pt x="1288097" y="64631"/>
                </a:lnTo>
                <a:lnTo>
                  <a:pt x="1237149" y="50150"/>
                </a:lnTo>
                <a:lnTo>
                  <a:pt x="1183752" y="37335"/>
                </a:lnTo>
                <a:lnTo>
                  <a:pt x="1128090" y="26268"/>
                </a:lnTo>
                <a:lnTo>
                  <a:pt x="1070345" y="17029"/>
                </a:lnTo>
                <a:lnTo>
                  <a:pt x="1010700" y="9701"/>
                </a:lnTo>
                <a:lnTo>
                  <a:pt x="949339" y="4366"/>
                </a:lnTo>
                <a:lnTo>
                  <a:pt x="886444" y="1105"/>
                </a:lnTo>
                <a:lnTo>
                  <a:pt x="822198" y="0"/>
                </a:lnTo>
                <a:close/>
              </a:path>
            </a:pathLst>
          </a:custGeom>
          <a:solidFill>
            <a:srgbClr val="0070C0"/>
          </a:solidFill>
          <a:ln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pPr defTabSz="896112"/>
            <a:endParaRPr sz="1764" dirty="0">
              <a:solidFill>
                <a:prstClr val="black"/>
              </a:solidFill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190977" y="3304693"/>
            <a:ext cx="1553408" cy="422285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446" algn="ctr" defTabSz="896112"/>
            <a:r>
              <a:rPr lang="en-US" sz="2744" spc="-10" dirty="0">
                <a:solidFill>
                  <a:prstClr val="white"/>
                </a:solidFill>
                <a:cs typeface="Microsoft Uighur"/>
              </a:rPr>
              <a:t>Humidity</a:t>
            </a:r>
            <a:endParaRPr sz="2744" dirty="0">
              <a:solidFill>
                <a:prstClr val="white"/>
              </a:solidFill>
              <a:cs typeface="Microsoft Uighur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822027" y="2784920"/>
            <a:ext cx="109529" cy="354102"/>
          </a:xfrm>
          <a:custGeom>
            <a:avLst/>
            <a:gdLst/>
            <a:ahLst/>
            <a:cxnLst/>
            <a:rect l="l" t="t" r="r" b="b"/>
            <a:pathLst>
              <a:path w="111760" h="361314">
                <a:moveTo>
                  <a:pt x="11049" y="253746"/>
                </a:moveTo>
                <a:lnTo>
                  <a:pt x="6350" y="256539"/>
                </a:lnTo>
                <a:lnTo>
                  <a:pt x="1524" y="259334"/>
                </a:lnTo>
                <a:lnTo>
                  <a:pt x="0" y="265430"/>
                </a:lnTo>
                <a:lnTo>
                  <a:pt x="2793" y="270129"/>
                </a:lnTo>
                <a:lnTo>
                  <a:pt x="55753" y="360934"/>
                </a:lnTo>
                <a:lnTo>
                  <a:pt x="67233" y="341249"/>
                </a:lnTo>
                <a:lnTo>
                  <a:pt x="45847" y="341249"/>
                </a:lnTo>
                <a:lnTo>
                  <a:pt x="45847" y="304727"/>
                </a:lnTo>
                <a:lnTo>
                  <a:pt x="19812" y="260096"/>
                </a:lnTo>
                <a:lnTo>
                  <a:pt x="17144" y="255397"/>
                </a:lnTo>
                <a:lnTo>
                  <a:pt x="11049" y="253746"/>
                </a:lnTo>
                <a:close/>
              </a:path>
              <a:path w="111760" h="361314">
                <a:moveTo>
                  <a:pt x="45847" y="304727"/>
                </a:moveTo>
                <a:lnTo>
                  <a:pt x="45847" y="341249"/>
                </a:lnTo>
                <a:lnTo>
                  <a:pt x="65659" y="341249"/>
                </a:lnTo>
                <a:lnTo>
                  <a:pt x="65659" y="336296"/>
                </a:lnTo>
                <a:lnTo>
                  <a:pt x="47243" y="336296"/>
                </a:lnTo>
                <a:lnTo>
                  <a:pt x="55752" y="321709"/>
                </a:lnTo>
                <a:lnTo>
                  <a:pt x="45847" y="304727"/>
                </a:lnTo>
                <a:close/>
              </a:path>
              <a:path w="111760" h="361314">
                <a:moveTo>
                  <a:pt x="100456" y="253746"/>
                </a:moveTo>
                <a:lnTo>
                  <a:pt x="94361" y="255397"/>
                </a:lnTo>
                <a:lnTo>
                  <a:pt x="91693" y="260096"/>
                </a:lnTo>
                <a:lnTo>
                  <a:pt x="65659" y="304727"/>
                </a:lnTo>
                <a:lnTo>
                  <a:pt x="65659" y="341249"/>
                </a:lnTo>
                <a:lnTo>
                  <a:pt x="67233" y="341249"/>
                </a:lnTo>
                <a:lnTo>
                  <a:pt x="108712" y="270129"/>
                </a:lnTo>
                <a:lnTo>
                  <a:pt x="111506" y="265430"/>
                </a:lnTo>
                <a:lnTo>
                  <a:pt x="109981" y="259334"/>
                </a:lnTo>
                <a:lnTo>
                  <a:pt x="105156" y="256539"/>
                </a:lnTo>
                <a:lnTo>
                  <a:pt x="100456" y="253746"/>
                </a:lnTo>
                <a:close/>
              </a:path>
              <a:path w="111760" h="361314">
                <a:moveTo>
                  <a:pt x="55752" y="321709"/>
                </a:moveTo>
                <a:lnTo>
                  <a:pt x="47243" y="336296"/>
                </a:lnTo>
                <a:lnTo>
                  <a:pt x="64262" y="336296"/>
                </a:lnTo>
                <a:lnTo>
                  <a:pt x="55752" y="321709"/>
                </a:lnTo>
                <a:close/>
              </a:path>
              <a:path w="111760" h="361314">
                <a:moveTo>
                  <a:pt x="65659" y="304727"/>
                </a:moveTo>
                <a:lnTo>
                  <a:pt x="55752" y="321709"/>
                </a:lnTo>
                <a:lnTo>
                  <a:pt x="64262" y="336296"/>
                </a:lnTo>
                <a:lnTo>
                  <a:pt x="65659" y="336296"/>
                </a:lnTo>
                <a:lnTo>
                  <a:pt x="65659" y="304727"/>
                </a:lnTo>
                <a:close/>
              </a:path>
              <a:path w="111760" h="361314">
                <a:moveTo>
                  <a:pt x="65659" y="0"/>
                </a:moveTo>
                <a:lnTo>
                  <a:pt x="45847" y="0"/>
                </a:lnTo>
                <a:lnTo>
                  <a:pt x="45847" y="304727"/>
                </a:lnTo>
                <a:lnTo>
                  <a:pt x="55752" y="321709"/>
                </a:lnTo>
                <a:lnTo>
                  <a:pt x="65658" y="304727"/>
                </a:lnTo>
                <a:lnTo>
                  <a:pt x="65659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89274" y="4233247"/>
            <a:ext cx="926402" cy="410369"/>
          </a:xfrm>
          <a:prstGeom prst="rect">
            <a:avLst/>
          </a:prstGeom>
          <a:solidFill>
            <a:srgbClr val="0070C0"/>
          </a:solidFill>
          <a:ln w="25907">
            <a:solidFill>
              <a:srgbClr val="0070C0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marL="76543" algn="ctr" defTabSz="896112">
              <a:lnSpc>
                <a:spcPts val="3170"/>
              </a:lnSpc>
            </a:pPr>
            <a:r>
              <a:rPr sz="2744" spc="-10" dirty="0">
                <a:solidFill>
                  <a:prstClr val="white"/>
                </a:solidFill>
                <a:cs typeface="Microsoft Uighur"/>
              </a:rPr>
              <a:t>High</a:t>
            </a:r>
          </a:p>
        </p:txBody>
      </p:sp>
      <p:sp>
        <p:nvSpPr>
          <p:cNvPr id="22" name="object 22"/>
          <p:cNvSpPr txBox="1"/>
          <p:nvPr/>
        </p:nvSpPr>
        <p:spPr>
          <a:xfrm>
            <a:off x="2545184" y="4233246"/>
            <a:ext cx="1290438" cy="410369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marL="75298" algn="ctr" defTabSz="896112">
              <a:lnSpc>
                <a:spcPts val="3164"/>
              </a:lnSpc>
            </a:pPr>
            <a:r>
              <a:rPr sz="2744" spc="-10" dirty="0">
                <a:solidFill>
                  <a:prstClr val="white"/>
                </a:solidFill>
                <a:cs typeface="Microsoft Uighur"/>
              </a:rPr>
              <a:t>Normal</a:t>
            </a:r>
          </a:p>
        </p:txBody>
      </p:sp>
      <p:sp>
        <p:nvSpPr>
          <p:cNvPr id="23" name="object 23"/>
          <p:cNvSpPr/>
          <p:nvPr/>
        </p:nvSpPr>
        <p:spPr>
          <a:xfrm>
            <a:off x="1024406" y="3891531"/>
            <a:ext cx="906102" cy="350368"/>
          </a:xfrm>
          <a:custGeom>
            <a:avLst/>
            <a:gdLst/>
            <a:ahLst/>
            <a:cxnLst/>
            <a:rect l="l" t="t" r="r" b="b"/>
            <a:pathLst>
              <a:path w="924560" h="357504">
                <a:moveTo>
                  <a:pt x="77635" y="251713"/>
                </a:moveTo>
                <a:lnTo>
                  <a:pt x="71386" y="252221"/>
                </a:lnTo>
                <a:lnTo>
                  <a:pt x="0" y="336803"/>
                </a:lnTo>
                <a:lnTo>
                  <a:pt x="108750" y="357377"/>
                </a:lnTo>
                <a:lnTo>
                  <a:pt x="113931" y="353821"/>
                </a:lnTo>
                <a:lnTo>
                  <a:pt x="114934" y="348361"/>
                </a:lnTo>
                <a:lnTo>
                  <a:pt x="115950" y="343026"/>
                </a:lnTo>
                <a:lnTo>
                  <a:pt x="113625" y="339597"/>
                </a:lnTo>
                <a:lnTo>
                  <a:pt x="21831" y="339597"/>
                </a:lnTo>
                <a:lnTo>
                  <a:pt x="15201" y="320928"/>
                </a:lnTo>
                <a:lnTo>
                  <a:pt x="49739" y="308644"/>
                </a:lnTo>
                <a:lnTo>
                  <a:pt x="86525" y="265049"/>
                </a:lnTo>
                <a:lnTo>
                  <a:pt x="85991" y="258825"/>
                </a:lnTo>
                <a:lnTo>
                  <a:pt x="77635" y="251713"/>
                </a:lnTo>
                <a:close/>
              </a:path>
              <a:path w="924560" h="357504">
                <a:moveTo>
                  <a:pt x="49739" y="308644"/>
                </a:moveTo>
                <a:lnTo>
                  <a:pt x="15201" y="320928"/>
                </a:lnTo>
                <a:lnTo>
                  <a:pt x="21831" y="339597"/>
                </a:lnTo>
                <a:lnTo>
                  <a:pt x="30043" y="336676"/>
                </a:lnTo>
                <a:lnTo>
                  <a:pt x="26085" y="336676"/>
                </a:lnTo>
                <a:lnTo>
                  <a:pt x="20358" y="320547"/>
                </a:lnTo>
                <a:lnTo>
                  <a:pt x="39695" y="320547"/>
                </a:lnTo>
                <a:lnTo>
                  <a:pt x="49739" y="308644"/>
                </a:lnTo>
                <a:close/>
              </a:path>
              <a:path w="924560" h="357504">
                <a:moveTo>
                  <a:pt x="56385" y="327307"/>
                </a:moveTo>
                <a:lnTo>
                  <a:pt x="21831" y="339597"/>
                </a:lnTo>
                <a:lnTo>
                  <a:pt x="113625" y="339597"/>
                </a:lnTo>
                <a:lnTo>
                  <a:pt x="112420" y="337819"/>
                </a:lnTo>
                <a:lnTo>
                  <a:pt x="56385" y="327307"/>
                </a:lnTo>
                <a:close/>
              </a:path>
              <a:path w="924560" h="357504">
                <a:moveTo>
                  <a:pt x="20358" y="320547"/>
                </a:moveTo>
                <a:lnTo>
                  <a:pt x="26085" y="336676"/>
                </a:lnTo>
                <a:lnTo>
                  <a:pt x="37052" y="323680"/>
                </a:lnTo>
                <a:lnTo>
                  <a:pt x="20358" y="320547"/>
                </a:lnTo>
                <a:close/>
              </a:path>
              <a:path w="924560" h="357504">
                <a:moveTo>
                  <a:pt x="37052" y="323680"/>
                </a:moveTo>
                <a:lnTo>
                  <a:pt x="26085" y="336676"/>
                </a:lnTo>
                <a:lnTo>
                  <a:pt x="30043" y="336676"/>
                </a:lnTo>
                <a:lnTo>
                  <a:pt x="56385" y="327307"/>
                </a:lnTo>
                <a:lnTo>
                  <a:pt x="37052" y="323680"/>
                </a:lnTo>
                <a:close/>
              </a:path>
              <a:path w="924560" h="357504">
                <a:moveTo>
                  <a:pt x="917486" y="0"/>
                </a:moveTo>
                <a:lnTo>
                  <a:pt x="49739" y="308644"/>
                </a:lnTo>
                <a:lnTo>
                  <a:pt x="37052" y="323680"/>
                </a:lnTo>
                <a:lnTo>
                  <a:pt x="56385" y="327307"/>
                </a:lnTo>
                <a:lnTo>
                  <a:pt x="924090" y="18668"/>
                </a:lnTo>
                <a:lnTo>
                  <a:pt x="917486" y="0"/>
                </a:lnTo>
                <a:close/>
              </a:path>
              <a:path w="924560" h="357504">
                <a:moveTo>
                  <a:pt x="39695" y="320547"/>
                </a:moveTo>
                <a:lnTo>
                  <a:pt x="20358" y="320547"/>
                </a:lnTo>
                <a:lnTo>
                  <a:pt x="37052" y="323680"/>
                </a:lnTo>
                <a:lnTo>
                  <a:pt x="39695" y="32054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2034430" y="3896164"/>
            <a:ext cx="1117070" cy="317385"/>
          </a:xfrm>
          <a:custGeom>
            <a:avLst/>
            <a:gdLst/>
            <a:ahLst/>
            <a:cxnLst/>
            <a:rect l="l" t="t" r="r" b="b"/>
            <a:pathLst>
              <a:path w="1139825" h="323850">
                <a:moveTo>
                  <a:pt x="1082705" y="288443"/>
                </a:moveTo>
                <a:lnTo>
                  <a:pt x="1028064" y="304418"/>
                </a:lnTo>
                <a:lnTo>
                  <a:pt x="1025016" y="310006"/>
                </a:lnTo>
                <a:lnTo>
                  <a:pt x="1026540" y="315213"/>
                </a:lnTo>
                <a:lnTo>
                  <a:pt x="1028191" y="320420"/>
                </a:lnTo>
                <a:lnTo>
                  <a:pt x="1033652" y="323468"/>
                </a:lnTo>
                <a:lnTo>
                  <a:pt x="1123290" y="297306"/>
                </a:lnTo>
                <a:lnTo>
                  <a:pt x="1118362" y="297306"/>
                </a:lnTo>
                <a:lnTo>
                  <a:pt x="1082705" y="288443"/>
                </a:lnTo>
                <a:close/>
              </a:path>
              <a:path w="1139825" h="323850">
                <a:moveTo>
                  <a:pt x="1101695" y="282891"/>
                </a:moveTo>
                <a:lnTo>
                  <a:pt x="1082705" y="288443"/>
                </a:lnTo>
                <a:lnTo>
                  <a:pt x="1118362" y="297306"/>
                </a:lnTo>
                <a:lnTo>
                  <a:pt x="1119001" y="294766"/>
                </a:lnTo>
                <a:lnTo>
                  <a:pt x="1113916" y="294766"/>
                </a:lnTo>
                <a:lnTo>
                  <a:pt x="1101695" y="282891"/>
                </a:lnTo>
                <a:close/>
              </a:path>
              <a:path w="1139825" h="323850">
                <a:moveTo>
                  <a:pt x="1060577" y="215264"/>
                </a:moveTo>
                <a:lnTo>
                  <a:pt x="1054227" y="215391"/>
                </a:lnTo>
                <a:lnTo>
                  <a:pt x="1050416" y="219328"/>
                </a:lnTo>
                <a:lnTo>
                  <a:pt x="1046607" y="223138"/>
                </a:lnTo>
                <a:lnTo>
                  <a:pt x="1046733" y="229488"/>
                </a:lnTo>
                <a:lnTo>
                  <a:pt x="1087715" y="269308"/>
                </a:lnTo>
                <a:lnTo>
                  <a:pt x="1123188" y="278129"/>
                </a:lnTo>
                <a:lnTo>
                  <a:pt x="1118362" y="297306"/>
                </a:lnTo>
                <a:lnTo>
                  <a:pt x="1123290" y="297306"/>
                </a:lnTo>
                <a:lnTo>
                  <a:pt x="1139825" y="292480"/>
                </a:lnTo>
                <a:lnTo>
                  <a:pt x="1060577" y="215264"/>
                </a:lnTo>
                <a:close/>
              </a:path>
              <a:path w="1139825" h="323850">
                <a:moveTo>
                  <a:pt x="1117981" y="278129"/>
                </a:moveTo>
                <a:lnTo>
                  <a:pt x="1101695" y="282891"/>
                </a:lnTo>
                <a:lnTo>
                  <a:pt x="1113916" y="294766"/>
                </a:lnTo>
                <a:lnTo>
                  <a:pt x="1117981" y="278129"/>
                </a:lnTo>
                <a:close/>
              </a:path>
              <a:path w="1139825" h="323850">
                <a:moveTo>
                  <a:pt x="1123188" y="278129"/>
                </a:moveTo>
                <a:lnTo>
                  <a:pt x="1117981" y="278129"/>
                </a:lnTo>
                <a:lnTo>
                  <a:pt x="1113916" y="294766"/>
                </a:lnTo>
                <a:lnTo>
                  <a:pt x="1119001" y="294766"/>
                </a:lnTo>
                <a:lnTo>
                  <a:pt x="1123188" y="278129"/>
                </a:lnTo>
                <a:close/>
              </a:path>
              <a:path w="1139825" h="323850">
                <a:moveTo>
                  <a:pt x="4825" y="0"/>
                </a:moveTo>
                <a:lnTo>
                  <a:pt x="0" y="19303"/>
                </a:lnTo>
                <a:lnTo>
                  <a:pt x="1082705" y="288443"/>
                </a:lnTo>
                <a:lnTo>
                  <a:pt x="1101695" y="282891"/>
                </a:lnTo>
                <a:lnTo>
                  <a:pt x="1087715" y="269308"/>
                </a:lnTo>
                <a:lnTo>
                  <a:pt x="4825" y="0"/>
                </a:lnTo>
                <a:close/>
              </a:path>
              <a:path w="1139825" h="323850">
                <a:moveTo>
                  <a:pt x="1087715" y="269308"/>
                </a:moveTo>
                <a:lnTo>
                  <a:pt x="1101695" y="282891"/>
                </a:lnTo>
                <a:lnTo>
                  <a:pt x="1117981" y="278129"/>
                </a:lnTo>
                <a:lnTo>
                  <a:pt x="1123188" y="278129"/>
                </a:lnTo>
                <a:lnTo>
                  <a:pt x="1087715" y="269308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graphicFrame>
        <p:nvGraphicFramePr>
          <p:cNvPr id="26" name="object 26"/>
          <p:cNvGraphicFramePr>
            <a:graphicFrameLocks noGrp="1"/>
          </p:cNvGraphicFramePr>
          <p:nvPr>
            <p:extLst/>
          </p:nvPr>
        </p:nvGraphicFramePr>
        <p:xfrm>
          <a:off x="200427" y="4690814"/>
          <a:ext cx="1908038" cy="113367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7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09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99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ind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Play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2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2154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7" name="object 27"/>
          <p:cNvSpPr txBox="1"/>
          <p:nvPr/>
        </p:nvSpPr>
        <p:spPr>
          <a:xfrm>
            <a:off x="2592965" y="5543317"/>
            <a:ext cx="1436821" cy="306659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34850" rIns="0" bIns="0" rtlCol="0" anchor="ctr">
            <a:spAutoFit/>
          </a:bodyPr>
          <a:lstStyle/>
          <a:p>
            <a:pPr marL="88989" algn="ctr" defTabSz="896112">
              <a:spcBef>
                <a:spcPts val="274"/>
              </a:spcBef>
            </a:pPr>
            <a:r>
              <a:rPr sz="1764" spc="-10" dirty="0">
                <a:solidFill>
                  <a:srgbClr val="FFFFFF"/>
                </a:solidFill>
                <a:cs typeface="Calibri"/>
              </a:rPr>
              <a:t>Pure</a:t>
            </a:r>
            <a:r>
              <a:rPr sz="1764" spc="-83" dirty="0">
                <a:solidFill>
                  <a:srgbClr val="FFFFFF"/>
                </a:solidFill>
                <a:cs typeface="Calibri"/>
              </a:rPr>
              <a:t> </a:t>
            </a:r>
            <a:r>
              <a:rPr sz="1764" spc="-5" dirty="0">
                <a:solidFill>
                  <a:srgbClr val="FFFFFF"/>
                </a:solidFill>
                <a:cs typeface="Calibri"/>
              </a:rPr>
              <a:t>Subset</a:t>
            </a:r>
            <a:endParaRPr sz="1764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9490718" y="3043627"/>
            <a:ext cx="1458473" cy="697949"/>
          </a:xfrm>
          <a:custGeom>
            <a:avLst/>
            <a:gdLst/>
            <a:ahLst/>
            <a:cxnLst/>
            <a:rect l="l" t="t" r="r" b="b"/>
            <a:pathLst>
              <a:path w="1062354" h="734695">
                <a:moveTo>
                  <a:pt x="531113" y="0"/>
                </a:moveTo>
                <a:lnTo>
                  <a:pt x="473235" y="2155"/>
                </a:lnTo>
                <a:lnTo>
                  <a:pt x="417164" y="8472"/>
                </a:lnTo>
                <a:lnTo>
                  <a:pt x="363224" y="18726"/>
                </a:lnTo>
                <a:lnTo>
                  <a:pt x="311738" y="32694"/>
                </a:lnTo>
                <a:lnTo>
                  <a:pt x="263031" y="50150"/>
                </a:lnTo>
                <a:lnTo>
                  <a:pt x="217426" y="70872"/>
                </a:lnTo>
                <a:lnTo>
                  <a:pt x="175246" y="94633"/>
                </a:lnTo>
                <a:lnTo>
                  <a:pt x="136817" y="121211"/>
                </a:lnTo>
                <a:lnTo>
                  <a:pt x="102461" y="150382"/>
                </a:lnTo>
                <a:lnTo>
                  <a:pt x="72502" y="181920"/>
                </a:lnTo>
                <a:lnTo>
                  <a:pt x="47265" y="215602"/>
                </a:lnTo>
                <a:lnTo>
                  <a:pt x="27072" y="251203"/>
                </a:lnTo>
                <a:lnTo>
                  <a:pt x="12247" y="288500"/>
                </a:lnTo>
                <a:lnTo>
                  <a:pt x="3115" y="327268"/>
                </a:lnTo>
                <a:lnTo>
                  <a:pt x="0" y="367283"/>
                </a:lnTo>
                <a:lnTo>
                  <a:pt x="3115" y="407299"/>
                </a:lnTo>
                <a:lnTo>
                  <a:pt x="12247" y="446067"/>
                </a:lnTo>
                <a:lnTo>
                  <a:pt x="27072" y="483364"/>
                </a:lnTo>
                <a:lnTo>
                  <a:pt x="47265" y="518965"/>
                </a:lnTo>
                <a:lnTo>
                  <a:pt x="72502" y="552647"/>
                </a:lnTo>
                <a:lnTo>
                  <a:pt x="102461" y="584185"/>
                </a:lnTo>
                <a:lnTo>
                  <a:pt x="136817" y="613356"/>
                </a:lnTo>
                <a:lnTo>
                  <a:pt x="175246" y="639934"/>
                </a:lnTo>
                <a:lnTo>
                  <a:pt x="217426" y="663695"/>
                </a:lnTo>
                <a:lnTo>
                  <a:pt x="263031" y="684417"/>
                </a:lnTo>
                <a:lnTo>
                  <a:pt x="311738" y="701873"/>
                </a:lnTo>
                <a:lnTo>
                  <a:pt x="363224" y="715841"/>
                </a:lnTo>
                <a:lnTo>
                  <a:pt x="417164" y="726095"/>
                </a:lnTo>
                <a:lnTo>
                  <a:pt x="473235" y="732412"/>
                </a:lnTo>
                <a:lnTo>
                  <a:pt x="531113" y="734567"/>
                </a:lnTo>
                <a:lnTo>
                  <a:pt x="588992" y="732412"/>
                </a:lnTo>
                <a:lnTo>
                  <a:pt x="645063" y="726095"/>
                </a:lnTo>
                <a:lnTo>
                  <a:pt x="699003" y="715841"/>
                </a:lnTo>
                <a:lnTo>
                  <a:pt x="750489" y="701873"/>
                </a:lnTo>
                <a:lnTo>
                  <a:pt x="799196" y="684417"/>
                </a:lnTo>
                <a:lnTo>
                  <a:pt x="844801" y="663695"/>
                </a:lnTo>
                <a:lnTo>
                  <a:pt x="886981" y="639934"/>
                </a:lnTo>
                <a:lnTo>
                  <a:pt x="925410" y="613356"/>
                </a:lnTo>
                <a:lnTo>
                  <a:pt x="959766" y="584185"/>
                </a:lnTo>
                <a:lnTo>
                  <a:pt x="989725" y="552647"/>
                </a:lnTo>
                <a:lnTo>
                  <a:pt x="1014962" y="518965"/>
                </a:lnTo>
                <a:lnTo>
                  <a:pt x="1035155" y="483364"/>
                </a:lnTo>
                <a:lnTo>
                  <a:pt x="1049980" y="446067"/>
                </a:lnTo>
                <a:lnTo>
                  <a:pt x="1059112" y="407299"/>
                </a:lnTo>
                <a:lnTo>
                  <a:pt x="1062227" y="367283"/>
                </a:lnTo>
                <a:lnTo>
                  <a:pt x="1059112" y="327268"/>
                </a:lnTo>
                <a:lnTo>
                  <a:pt x="1049980" y="288500"/>
                </a:lnTo>
                <a:lnTo>
                  <a:pt x="1035155" y="251203"/>
                </a:lnTo>
                <a:lnTo>
                  <a:pt x="1014962" y="215602"/>
                </a:lnTo>
                <a:lnTo>
                  <a:pt x="989725" y="181920"/>
                </a:lnTo>
                <a:lnTo>
                  <a:pt x="959766" y="150382"/>
                </a:lnTo>
                <a:lnTo>
                  <a:pt x="925410" y="121211"/>
                </a:lnTo>
                <a:lnTo>
                  <a:pt x="886981" y="94633"/>
                </a:lnTo>
                <a:lnTo>
                  <a:pt x="844801" y="70872"/>
                </a:lnTo>
                <a:lnTo>
                  <a:pt x="799196" y="50150"/>
                </a:lnTo>
                <a:lnTo>
                  <a:pt x="750489" y="32694"/>
                </a:lnTo>
                <a:lnTo>
                  <a:pt x="699003" y="18726"/>
                </a:lnTo>
                <a:lnTo>
                  <a:pt x="645063" y="8472"/>
                </a:lnTo>
                <a:lnTo>
                  <a:pt x="588992" y="2155"/>
                </a:lnTo>
                <a:lnTo>
                  <a:pt x="531113" y="0"/>
                </a:lnTo>
                <a:close/>
              </a:path>
            </a:pathLst>
          </a:custGeom>
          <a:solidFill>
            <a:srgbClr val="0070C0"/>
          </a:solidFill>
          <a:ln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9821371" y="3152494"/>
            <a:ext cx="964352" cy="4222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2744" spc="-10" dirty="0">
                <a:solidFill>
                  <a:srgbClr val="EEECE1"/>
                </a:solidFill>
                <a:cs typeface="Microsoft Uighur"/>
              </a:rPr>
              <a:t>Wind</a:t>
            </a:r>
          </a:p>
        </p:txBody>
      </p:sp>
      <p:sp>
        <p:nvSpPr>
          <p:cNvPr id="31" name="object 31"/>
          <p:cNvSpPr txBox="1"/>
          <p:nvPr/>
        </p:nvSpPr>
        <p:spPr>
          <a:xfrm>
            <a:off x="8533499" y="4106298"/>
            <a:ext cx="1079964" cy="410369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marL="76543" algn="ctr" defTabSz="896112">
              <a:lnSpc>
                <a:spcPts val="3170"/>
              </a:lnSpc>
            </a:pPr>
            <a:r>
              <a:rPr sz="2744" spc="-10" dirty="0">
                <a:solidFill>
                  <a:srgbClr val="EEECE1"/>
                </a:solidFill>
                <a:cs typeface="Microsoft Uighur"/>
              </a:rPr>
              <a:t>Weak</a:t>
            </a:r>
          </a:p>
        </p:txBody>
      </p:sp>
      <p:sp>
        <p:nvSpPr>
          <p:cNvPr id="32" name="object 32"/>
          <p:cNvSpPr txBox="1"/>
          <p:nvPr/>
        </p:nvSpPr>
        <p:spPr>
          <a:xfrm>
            <a:off x="10489120" y="4148807"/>
            <a:ext cx="1278003" cy="410369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marL="77165" algn="ctr" defTabSz="896112">
              <a:lnSpc>
                <a:spcPts val="3164"/>
              </a:lnSpc>
            </a:pPr>
            <a:r>
              <a:rPr sz="2744" spc="-10" dirty="0">
                <a:solidFill>
                  <a:srgbClr val="EEECE1"/>
                </a:solidFill>
                <a:cs typeface="Microsoft Uighur"/>
              </a:rPr>
              <a:t>Strong</a:t>
            </a:r>
          </a:p>
        </p:txBody>
      </p:sp>
      <p:sp>
        <p:nvSpPr>
          <p:cNvPr id="33" name="object 33"/>
          <p:cNvSpPr/>
          <p:nvPr/>
        </p:nvSpPr>
        <p:spPr>
          <a:xfrm>
            <a:off x="8912233" y="3726977"/>
            <a:ext cx="1054215" cy="378372"/>
          </a:xfrm>
          <a:custGeom>
            <a:avLst/>
            <a:gdLst/>
            <a:ahLst/>
            <a:cxnLst/>
            <a:rect l="l" t="t" r="r" b="b"/>
            <a:pathLst>
              <a:path w="1075690" h="386079">
                <a:moveTo>
                  <a:pt x="79501" y="279400"/>
                </a:moveTo>
                <a:lnTo>
                  <a:pt x="73278" y="279781"/>
                </a:lnTo>
                <a:lnTo>
                  <a:pt x="69723" y="283845"/>
                </a:lnTo>
                <a:lnTo>
                  <a:pt x="0" y="362712"/>
                </a:lnTo>
                <a:lnTo>
                  <a:pt x="108203" y="385699"/>
                </a:lnTo>
                <a:lnTo>
                  <a:pt x="113411" y="382270"/>
                </a:lnTo>
                <a:lnTo>
                  <a:pt x="115697" y="371602"/>
                </a:lnTo>
                <a:lnTo>
                  <a:pt x="112268" y="366395"/>
                </a:lnTo>
                <a:lnTo>
                  <a:pt x="109889" y="365887"/>
                </a:lnTo>
                <a:lnTo>
                  <a:pt x="21717" y="365887"/>
                </a:lnTo>
                <a:lnTo>
                  <a:pt x="15494" y="347091"/>
                </a:lnTo>
                <a:lnTo>
                  <a:pt x="50344" y="335612"/>
                </a:lnTo>
                <a:lnTo>
                  <a:pt x="84454" y="297053"/>
                </a:lnTo>
                <a:lnTo>
                  <a:pt x="88138" y="292989"/>
                </a:lnTo>
                <a:lnTo>
                  <a:pt x="87756" y="286639"/>
                </a:lnTo>
                <a:lnTo>
                  <a:pt x="79501" y="279400"/>
                </a:lnTo>
                <a:close/>
              </a:path>
              <a:path w="1075690" h="386079">
                <a:moveTo>
                  <a:pt x="50344" y="335612"/>
                </a:moveTo>
                <a:lnTo>
                  <a:pt x="15494" y="347091"/>
                </a:lnTo>
                <a:lnTo>
                  <a:pt x="21717" y="365887"/>
                </a:lnTo>
                <a:lnTo>
                  <a:pt x="30200" y="363093"/>
                </a:lnTo>
                <a:lnTo>
                  <a:pt x="26034" y="363093"/>
                </a:lnTo>
                <a:lnTo>
                  <a:pt x="20700" y="346837"/>
                </a:lnTo>
                <a:lnTo>
                  <a:pt x="40415" y="346837"/>
                </a:lnTo>
                <a:lnTo>
                  <a:pt x="50344" y="335612"/>
                </a:lnTo>
                <a:close/>
              </a:path>
              <a:path w="1075690" h="386079">
                <a:moveTo>
                  <a:pt x="56403" y="354462"/>
                </a:moveTo>
                <a:lnTo>
                  <a:pt x="21717" y="365887"/>
                </a:lnTo>
                <a:lnTo>
                  <a:pt x="109889" y="365887"/>
                </a:lnTo>
                <a:lnTo>
                  <a:pt x="56403" y="354462"/>
                </a:lnTo>
                <a:close/>
              </a:path>
              <a:path w="1075690" h="386079">
                <a:moveTo>
                  <a:pt x="20700" y="346837"/>
                </a:moveTo>
                <a:lnTo>
                  <a:pt x="26034" y="363093"/>
                </a:lnTo>
                <a:lnTo>
                  <a:pt x="37282" y="350378"/>
                </a:lnTo>
                <a:lnTo>
                  <a:pt x="20700" y="346837"/>
                </a:lnTo>
                <a:close/>
              </a:path>
              <a:path w="1075690" h="386079">
                <a:moveTo>
                  <a:pt x="37282" y="350378"/>
                </a:moveTo>
                <a:lnTo>
                  <a:pt x="26034" y="363093"/>
                </a:lnTo>
                <a:lnTo>
                  <a:pt x="30200" y="363093"/>
                </a:lnTo>
                <a:lnTo>
                  <a:pt x="56403" y="354462"/>
                </a:lnTo>
                <a:lnTo>
                  <a:pt x="37282" y="350378"/>
                </a:lnTo>
                <a:close/>
              </a:path>
              <a:path w="1075690" h="386079">
                <a:moveTo>
                  <a:pt x="1069340" y="0"/>
                </a:moveTo>
                <a:lnTo>
                  <a:pt x="50344" y="335612"/>
                </a:lnTo>
                <a:lnTo>
                  <a:pt x="37282" y="350378"/>
                </a:lnTo>
                <a:lnTo>
                  <a:pt x="56403" y="354462"/>
                </a:lnTo>
                <a:lnTo>
                  <a:pt x="1075563" y="18796"/>
                </a:lnTo>
                <a:lnTo>
                  <a:pt x="1069340" y="0"/>
                </a:lnTo>
                <a:close/>
              </a:path>
              <a:path w="1075690" h="386079">
                <a:moveTo>
                  <a:pt x="40415" y="346837"/>
                </a:moveTo>
                <a:lnTo>
                  <a:pt x="20700" y="346837"/>
                </a:lnTo>
                <a:lnTo>
                  <a:pt x="37282" y="350378"/>
                </a:lnTo>
                <a:lnTo>
                  <a:pt x="40415" y="34683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0463042" y="3726977"/>
            <a:ext cx="916887" cy="402185"/>
          </a:xfrm>
          <a:custGeom>
            <a:avLst/>
            <a:gdLst/>
            <a:ahLst/>
            <a:cxnLst/>
            <a:rect l="l" t="t" r="r" b="b"/>
            <a:pathLst>
              <a:path w="901700" h="339725">
                <a:moveTo>
                  <a:pt x="845255" y="309169"/>
                </a:moveTo>
                <a:lnTo>
                  <a:pt x="794638" y="319278"/>
                </a:lnTo>
                <a:lnTo>
                  <a:pt x="789177" y="320294"/>
                </a:lnTo>
                <a:lnTo>
                  <a:pt x="785749" y="325501"/>
                </a:lnTo>
                <a:lnTo>
                  <a:pt x="786765" y="330835"/>
                </a:lnTo>
                <a:lnTo>
                  <a:pt x="787907" y="336296"/>
                </a:lnTo>
                <a:lnTo>
                  <a:pt x="793115" y="339725"/>
                </a:lnTo>
                <a:lnTo>
                  <a:pt x="798449" y="338709"/>
                </a:lnTo>
                <a:lnTo>
                  <a:pt x="886389" y="321056"/>
                </a:lnTo>
                <a:lnTo>
                  <a:pt x="879855" y="321056"/>
                </a:lnTo>
                <a:lnTo>
                  <a:pt x="845255" y="309169"/>
                </a:lnTo>
                <a:close/>
              </a:path>
              <a:path w="901700" h="339725">
                <a:moveTo>
                  <a:pt x="864485" y="305329"/>
                </a:moveTo>
                <a:lnTo>
                  <a:pt x="845255" y="309169"/>
                </a:lnTo>
                <a:lnTo>
                  <a:pt x="879855" y="321056"/>
                </a:lnTo>
                <a:lnTo>
                  <a:pt x="880842" y="318135"/>
                </a:lnTo>
                <a:lnTo>
                  <a:pt x="875537" y="318135"/>
                </a:lnTo>
                <a:lnTo>
                  <a:pt x="864485" y="305329"/>
                </a:lnTo>
                <a:close/>
              </a:path>
              <a:path w="901700" h="339725">
                <a:moveTo>
                  <a:pt x="823086" y="233807"/>
                </a:moveTo>
                <a:lnTo>
                  <a:pt x="818896" y="237363"/>
                </a:lnTo>
                <a:lnTo>
                  <a:pt x="814831" y="240919"/>
                </a:lnTo>
                <a:lnTo>
                  <a:pt x="814324" y="247142"/>
                </a:lnTo>
                <a:lnTo>
                  <a:pt x="817879" y="251333"/>
                </a:lnTo>
                <a:lnTo>
                  <a:pt x="851564" y="290359"/>
                </a:lnTo>
                <a:lnTo>
                  <a:pt x="886205" y="302260"/>
                </a:lnTo>
                <a:lnTo>
                  <a:pt x="879855" y="321056"/>
                </a:lnTo>
                <a:lnTo>
                  <a:pt x="886389" y="321056"/>
                </a:lnTo>
                <a:lnTo>
                  <a:pt x="901573" y="318008"/>
                </a:lnTo>
                <a:lnTo>
                  <a:pt x="832866" y="238379"/>
                </a:lnTo>
                <a:lnTo>
                  <a:pt x="829309" y="234315"/>
                </a:lnTo>
                <a:lnTo>
                  <a:pt x="823086" y="233807"/>
                </a:lnTo>
                <a:close/>
              </a:path>
              <a:path w="901700" h="339725">
                <a:moveTo>
                  <a:pt x="881126" y="302006"/>
                </a:moveTo>
                <a:lnTo>
                  <a:pt x="864485" y="305329"/>
                </a:lnTo>
                <a:lnTo>
                  <a:pt x="875537" y="318135"/>
                </a:lnTo>
                <a:lnTo>
                  <a:pt x="881126" y="302006"/>
                </a:lnTo>
                <a:close/>
              </a:path>
              <a:path w="901700" h="339725">
                <a:moveTo>
                  <a:pt x="885466" y="302006"/>
                </a:moveTo>
                <a:lnTo>
                  <a:pt x="881126" y="302006"/>
                </a:lnTo>
                <a:lnTo>
                  <a:pt x="875537" y="318135"/>
                </a:lnTo>
                <a:lnTo>
                  <a:pt x="880842" y="318135"/>
                </a:lnTo>
                <a:lnTo>
                  <a:pt x="886205" y="302260"/>
                </a:lnTo>
                <a:lnTo>
                  <a:pt x="885466" y="302006"/>
                </a:lnTo>
                <a:close/>
              </a:path>
              <a:path w="901700" h="339725">
                <a:moveTo>
                  <a:pt x="6350" y="0"/>
                </a:moveTo>
                <a:lnTo>
                  <a:pt x="0" y="18796"/>
                </a:lnTo>
                <a:lnTo>
                  <a:pt x="845255" y="309169"/>
                </a:lnTo>
                <a:lnTo>
                  <a:pt x="864485" y="305329"/>
                </a:lnTo>
                <a:lnTo>
                  <a:pt x="851564" y="290359"/>
                </a:lnTo>
                <a:lnTo>
                  <a:pt x="6350" y="0"/>
                </a:lnTo>
                <a:close/>
              </a:path>
              <a:path w="901700" h="339725">
                <a:moveTo>
                  <a:pt x="851564" y="290359"/>
                </a:moveTo>
                <a:lnTo>
                  <a:pt x="864485" y="305329"/>
                </a:lnTo>
                <a:lnTo>
                  <a:pt x="881126" y="302006"/>
                </a:lnTo>
                <a:lnTo>
                  <a:pt x="885466" y="302006"/>
                </a:lnTo>
                <a:lnTo>
                  <a:pt x="851564" y="290359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10132395" y="2648295"/>
            <a:ext cx="109529" cy="401398"/>
          </a:xfrm>
          <a:custGeom>
            <a:avLst/>
            <a:gdLst/>
            <a:ahLst/>
            <a:cxnLst/>
            <a:rect l="l" t="t" r="r" b="b"/>
            <a:pathLst>
              <a:path w="111759" h="409575">
                <a:moveTo>
                  <a:pt x="11049" y="302133"/>
                </a:moveTo>
                <a:lnTo>
                  <a:pt x="6350" y="304926"/>
                </a:lnTo>
                <a:lnTo>
                  <a:pt x="1524" y="307594"/>
                </a:lnTo>
                <a:lnTo>
                  <a:pt x="0" y="313689"/>
                </a:lnTo>
                <a:lnTo>
                  <a:pt x="2794" y="318388"/>
                </a:lnTo>
                <a:lnTo>
                  <a:pt x="55752" y="409321"/>
                </a:lnTo>
                <a:lnTo>
                  <a:pt x="67217" y="389636"/>
                </a:lnTo>
                <a:lnTo>
                  <a:pt x="45847" y="389636"/>
                </a:lnTo>
                <a:lnTo>
                  <a:pt x="45847" y="353114"/>
                </a:lnTo>
                <a:lnTo>
                  <a:pt x="19811" y="308483"/>
                </a:lnTo>
                <a:lnTo>
                  <a:pt x="17145" y="303784"/>
                </a:lnTo>
                <a:lnTo>
                  <a:pt x="11049" y="302133"/>
                </a:lnTo>
                <a:close/>
              </a:path>
              <a:path w="111759" h="409575">
                <a:moveTo>
                  <a:pt x="45847" y="353114"/>
                </a:moveTo>
                <a:lnTo>
                  <a:pt x="45847" y="389636"/>
                </a:lnTo>
                <a:lnTo>
                  <a:pt x="65658" y="389636"/>
                </a:lnTo>
                <a:lnTo>
                  <a:pt x="65658" y="384683"/>
                </a:lnTo>
                <a:lnTo>
                  <a:pt x="47244" y="384683"/>
                </a:lnTo>
                <a:lnTo>
                  <a:pt x="55752" y="370096"/>
                </a:lnTo>
                <a:lnTo>
                  <a:pt x="45847" y="353114"/>
                </a:lnTo>
                <a:close/>
              </a:path>
              <a:path w="111759" h="409575">
                <a:moveTo>
                  <a:pt x="100456" y="302133"/>
                </a:moveTo>
                <a:lnTo>
                  <a:pt x="94360" y="303784"/>
                </a:lnTo>
                <a:lnTo>
                  <a:pt x="91694" y="308483"/>
                </a:lnTo>
                <a:lnTo>
                  <a:pt x="65658" y="353114"/>
                </a:lnTo>
                <a:lnTo>
                  <a:pt x="65658" y="389636"/>
                </a:lnTo>
                <a:lnTo>
                  <a:pt x="67217" y="389636"/>
                </a:lnTo>
                <a:lnTo>
                  <a:pt x="108711" y="318388"/>
                </a:lnTo>
                <a:lnTo>
                  <a:pt x="111505" y="313689"/>
                </a:lnTo>
                <a:lnTo>
                  <a:pt x="109981" y="307594"/>
                </a:lnTo>
                <a:lnTo>
                  <a:pt x="105155" y="304926"/>
                </a:lnTo>
                <a:lnTo>
                  <a:pt x="100456" y="302133"/>
                </a:lnTo>
                <a:close/>
              </a:path>
              <a:path w="111759" h="409575">
                <a:moveTo>
                  <a:pt x="55752" y="370096"/>
                </a:moveTo>
                <a:lnTo>
                  <a:pt x="47244" y="384683"/>
                </a:lnTo>
                <a:lnTo>
                  <a:pt x="64261" y="384683"/>
                </a:lnTo>
                <a:lnTo>
                  <a:pt x="55752" y="370096"/>
                </a:lnTo>
                <a:close/>
              </a:path>
              <a:path w="111759" h="409575">
                <a:moveTo>
                  <a:pt x="65658" y="353114"/>
                </a:moveTo>
                <a:lnTo>
                  <a:pt x="55752" y="370096"/>
                </a:lnTo>
                <a:lnTo>
                  <a:pt x="64261" y="384683"/>
                </a:lnTo>
                <a:lnTo>
                  <a:pt x="65658" y="384683"/>
                </a:lnTo>
                <a:lnTo>
                  <a:pt x="65658" y="353114"/>
                </a:lnTo>
                <a:close/>
              </a:path>
              <a:path w="111759" h="409575">
                <a:moveTo>
                  <a:pt x="65658" y="0"/>
                </a:moveTo>
                <a:lnTo>
                  <a:pt x="45847" y="0"/>
                </a:lnTo>
                <a:lnTo>
                  <a:pt x="45847" y="353114"/>
                </a:lnTo>
                <a:lnTo>
                  <a:pt x="55752" y="370096"/>
                </a:lnTo>
                <a:lnTo>
                  <a:pt x="65658" y="353114"/>
                </a:lnTo>
                <a:lnTo>
                  <a:pt x="6565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graphicFrame>
        <p:nvGraphicFramePr>
          <p:cNvPr id="36" name="object 36"/>
          <p:cNvGraphicFramePr>
            <a:graphicFrameLocks noGrp="1"/>
          </p:cNvGraphicFramePr>
          <p:nvPr>
            <p:extLst/>
          </p:nvPr>
        </p:nvGraphicFramePr>
        <p:xfrm>
          <a:off x="10017178" y="4621986"/>
          <a:ext cx="1949174" cy="7358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72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90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8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umidity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Play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13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4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igh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object 37"/>
          <p:cNvSpPr txBox="1"/>
          <p:nvPr/>
        </p:nvSpPr>
        <p:spPr>
          <a:xfrm>
            <a:off x="8230151" y="5648590"/>
            <a:ext cx="1446498" cy="305403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33605" rIns="0" bIns="0" rtlCol="0" anchor="ctr">
            <a:spAutoFit/>
          </a:bodyPr>
          <a:lstStyle/>
          <a:p>
            <a:pPr marL="90856" algn="ctr" defTabSz="896112">
              <a:spcBef>
                <a:spcPts val="265"/>
              </a:spcBef>
            </a:pPr>
            <a:r>
              <a:rPr sz="1764" spc="-15" dirty="0">
                <a:solidFill>
                  <a:srgbClr val="FFFFFF"/>
                </a:solidFill>
                <a:cs typeface="Calibri"/>
              </a:rPr>
              <a:t>Pure</a:t>
            </a:r>
            <a:r>
              <a:rPr sz="1764" spc="-69" dirty="0">
                <a:solidFill>
                  <a:srgbClr val="FFFFFF"/>
                </a:solidFill>
                <a:cs typeface="Calibri"/>
              </a:rPr>
              <a:t> </a:t>
            </a:r>
            <a:r>
              <a:rPr sz="1764" spc="-5" dirty="0">
                <a:solidFill>
                  <a:srgbClr val="FFFFFF"/>
                </a:solidFill>
                <a:cs typeface="Calibri"/>
              </a:rPr>
              <a:t>Subset</a:t>
            </a:r>
            <a:endParaRPr sz="1764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10395249" y="5391243"/>
            <a:ext cx="1322487" cy="305403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33605" rIns="0" bIns="0" rtlCol="0" anchor="ctr">
            <a:spAutoFit/>
          </a:bodyPr>
          <a:lstStyle/>
          <a:p>
            <a:pPr marL="90856" algn="ctr" defTabSz="896112">
              <a:spcBef>
                <a:spcPts val="265"/>
              </a:spcBef>
            </a:pPr>
            <a:r>
              <a:rPr sz="1764" spc="-15" dirty="0">
                <a:solidFill>
                  <a:srgbClr val="FFFFFF"/>
                </a:solidFill>
                <a:cs typeface="Calibri"/>
              </a:rPr>
              <a:t>Pure</a:t>
            </a:r>
            <a:r>
              <a:rPr sz="1764" spc="-69" dirty="0">
                <a:solidFill>
                  <a:srgbClr val="FFFFFF"/>
                </a:solidFill>
                <a:cs typeface="Calibri"/>
              </a:rPr>
              <a:t> </a:t>
            </a:r>
            <a:r>
              <a:rPr sz="1764" spc="-5" dirty="0">
                <a:solidFill>
                  <a:srgbClr val="FFFFFF"/>
                </a:solidFill>
                <a:cs typeface="Calibri"/>
              </a:rPr>
              <a:t>Subset</a:t>
            </a:r>
            <a:endParaRPr sz="1764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41" name="object 27"/>
          <p:cNvSpPr txBox="1"/>
          <p:nvPr/>
        </p:nvSpPr>
        <p:spPr>
          <a:xfrm>
            <a:off x="448273" y="5861180"/>
            <a:ext cx="1368863" cy="306659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34850" rIns="0" bIns="0" rtlCol="0" anchor="ctr">
            <a:spAutoFit/>
          </a:bodyPr>
          <a:lstStyle/>
          <a:p>
            <a:pPr marL="88989" algn="ctr" defTabSz="896112">
              <a:spcBef>
                <a:spcPts val="274"/>
              </a:spcBef>
            </a:pPr>
            <a:r>
              <a:rPr sz="1764" spc="-10" dirty="0">
                <a:solidFill>
                  <a:srgbClr val="FFFFFF"/>
                </a:solidFill>
                <a:cs typeface="Calibri"/>
              </a:rPr>
              <a:t>Pure</a:t>
            </a:r>
            <a:r>
              <a:rPr sz="1764" spc="-83" dirty="0">
                <a:solidFill>
                  <a:srgbClr val="FFFFFF"/>
                </a:solidFill>
                <a:cs typeface="Calibri"/>
              </a:rPr>
              <a:t> </a:t>
            </a:r>
            <a:r>
              <a:rPr sz="1764" spc="-5" dirty="0">
                <a:solidFill>
                  <a:srgbClr val="FFFFFF"/>
                </a:solidFill>
                <a:cs typeface="Calibri"/>
              </a:rPr>
              <a:t>Subset</a:t>
            </a:r>
            <a:endParaRPr sz="1764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42" name="Title 5"/>
          <p:cNvSpPr txBox="1">
            <a:spLocks/>
          </p:cNvSpPr>
          <p:nvPr/>
        </p:nvSpPr>
        <p:spPr bwMode="auto">
          <a:xfrm>
            <a:off x="963283" y="343307"/>
            <a:ext cx="10843881" cy="914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30000"/>
              </a:spcAft>
              <a:defRPr sz="1683">
                <a:solidFill>
                  <a:srgbClr val="F86B1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5pPr>
            <a:lvl6pPr marL="349682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6pPr>
            <a:lvl7pPr marL="699363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7pPr>
            <a:lvl8pPr marL="1049046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8pPr>
            <a:lvl9pPr marL="1398727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896112"/>
            <a:r>
              <a:rPr lang="en-US" sz="3600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ample (3/4)</a:t>
            </a:r>
          </a:p>
        </p:txBody>
      </p:sp>
    </p:spTree>
    <p:extLst>
      <p:ext uri="{BB962C8B-B14F-4D97-AF65-F5344CB8AC3E}">
        <p14:creationId xmlns:p14="http://schemas.microsoft.com/office/powerpoint/2010/main" val="230337750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bject 46"/>
          <p:cNvSpPr txBox="1">
            <a:spLocks noGrp="1"/>
          </p:cNvSpPr>
          <p:nvPr>
            <p:ph type="sldNum" sz="quarter" idx="12"/>
          </p:nvPr>
        </p:nvSpPr>
        <p:spPr>
          <a:xfrm>
            <a:off x="11231207" y="6567587"/>
            <a:ext cx="495656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24892" defTabSz="896112">
              <a:lnSpc>
                <a:spcPts val="1210"/>
              </a:lnSpc>
            </a:pPr>
            <a:fld id="{81D60167-4931-47E6-BA6A-407CBD079E47}" type="slidenum">
              <a:rPr spc="15" dirty="0">
                <a:solidFill>
                  <a:srgbClr val="464646"/>
                </a:solidFill>
                <a:latin typeface="+mn-lt"/>
              </a:rPr>
              <a:pPr marL="24892" defTabSz="896112">
                <a:lnSpc>
                  <a:spcPts val="1210"/>
                </a:lnSpc>
              </a:pPr>
              <a:t>11</a:t>
            </a:fld>
            <a:endParaRPr spc="15" dirty="0">
              <a:solidFill>
                <a:srgbClr val="464646"/>
              </a:solidFill>
              <a:latin typeface="+mn-lt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525371" y="1084198"/>
            <a:ext cx="2503768" cy="446803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4271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75921" algn="ctr">
              <a:lnSpc>
                <a:spcPct val="100000"/>
              </a:lnSpc>
              <a:spcBef>
                <a:spcPts val="191"/>
              </a:spcBef>
            </a:pPr>
            <a:r>
              <a:rPr sz="2744" spc="-5" dirty="0">
                <a:solidFill>
                  <a:schemeClr val="bg1"/>
                </a:solidFill>
                <a:latin typeface="+mn-lt"/>
              </a:rPr>
              <a:t>Outlook</a:t>
            </a:r>
            <a:endParaRPr sz="2744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609683" y="2560783"/>
            <a:ext cx="826445" cy="393308"/>
          </a:xfrm>
          <a:custGeom>
            <a:avLst/>
            <a:gdLst/>
            <a:ahLst/>
            <a:cxnLst/>
            <a:rect l="l" t="t" r="r" b="b"/>
            <a:pathLst>
              <a:path w="843280" h="401319">
                <a:moveTo>
                  <a:pt x="0" y="400812"/>
                </a:moveTo>
                <a:lnTo>
                  <a:pt x="842772" y="400812"/>
                </a:lnTo>
                <a:lnTo>
                  <a:pt x="842772" y="0"/>
                </a:lnTo>
                <a:lnTo>
                  <a:pt x="0" y="0"/>
                </a:lnTo>
                <a:lnTo>
                  <a:pt x="0" y="400812"/>
                </a:lnTo>
                <a:close/>
              </a:path>
            </a:pathLst>
          </a:custGeom>
          <a:solidFill>
            <a:srgbClr val="CF0071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625863" y="2561219"/>
            <a:ext cx="1294257" cy="448048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5514" rIns="0" bIns="0" rtlCol="0" anchor="ctr">
            <a:spAutoFit/>
          </a:bodyPr>
          <a:lstStyle/>
          <a:p>
            <a:pPr marL="75298" algn="ctr" defTabSz="896112">
              <a:spcBef>
                <a:spcPts val="200"/>
              </a:spcBef>
            </a:pPr>
            <a:r>
              <a:rPr sz="2744" spc="-5" dirty="0">
                <a:solidFill>
                  <a:prstClr val="white"/>
                </a:solidFill>
                <a:cs typeface="Segoe UI Light"/>
              </a:rPr>
              <a:t>Sunny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5103904" y="3121818"/>
            <a:ext cx="1546472" cy="448048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5514" rIns="0" bIns="0" rtlCol="0" anchor="ctr">
            <a:spAutoFit/>
          </a:bodyPr>
          <a:lstStyle/>
          <a:p>
            <a:pPr marL="75921" algn="ctr" defTabSz="896112">
              <a:spcBef>
                <a:spcPts val="191"/>
              </a:spcBef>
            </a:pPr>
            <a:r>
              <a:rPr sz="2744" spc="-5" dirty="0">
                <a:solidFill>
                  <a:prstClr val="white"/>
                </a:solidFill>
                <a:cs typeface="Segoe UI Light"/>
              </a:rPr>
              <a:t>Overcast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9842642" y="2358418"/>
            <a:ext cx="841132" cy="447421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4893" rIns="0" bIns="0" rtlCol="0" anchor="ctr">
            <a:spAutoFit/>
          </a:bodyPr>
          <a:lstStyle/>
          <a:p>
            <a:pPr marL="75921" algn="ctr" defTabSz="896112">
              <a:spcBef>
                <a:spcPts val="191"/>
              </a:spcBef>
            </a:pPr>
            <a:r>
              <a:rPr sz="2744" spc="-5" dirty="0">
                <a:solidFill>
                  <a:prstClr val="white"/>
                </a:solidFill>
                <a:cs typeface="Segoe UI Light"/>
              </a:rPr>
              <a:t>Rain</a:t>
            </a:r>
          </a:p>
        </p:txBody>
      </p:sp>
      <p:sp>
        <p:nvSpPr>
          <p:cNvPr id="10" name="object 10"/>
          <p:cNvSpPr/>
          <p:nvPr/>
        </p:nvSpPr>
        <p:spPr>
          <a:xfrm>
            <a:off x="5736867" y="1879460"/>
            <a:ext cx="109529" cy="1206684"/>
          </a:xfrm>
          <a:custGeom>
            <a:avLst/>
            <a:gdLst/>
            <a:ahLst/>
            <a:cxnLst/>
            <a:rect l="l" t="t" r="r" b="b"/>
            <a:pathLst>
              <a:path w="111760" h="1231264">
                <a:moveTo>
                  <a:pt x="10794" y="1124839"/>
                </a:moveTo>
                <a:lnTo>
                  <a:pt x="6095" y="1127632"/>
                </a:lnTo>
                <a:lnTo>
                  <a:pt x="1524" y="1130427"/>
                </a:lnTo>
                <a:lnTo>
                  <a:pt x="0" y="1136523"/>
                </a:lnTo>
                <a:lnTo>
                  <a:pt x="2793" y="1141222"/>
                </a:lnTo>
                <a:lnTo>
                  <a:pt x="57150" y="1231264"/>
                </a:lnTo>
                <a:lnTo>
                  <a:pt x="68118" y="1211834"/>
                </a:lnTo>
                <a:lnTo>
                  <a:pt x="46989" y="1211834"/>
                </a:lnTo>
                <a:lnTo>
                  <a:pt x="46445" y="1175252"/>
                </a:lnTo>
                <a:lnTo>
                  <a:pt x="19812" y="1131062"/>
                </a:lnTo>
                <a:lnTo>
                  <a:pt x="16890" y="1126363"/>
                </a:lnTo>
                <a:lnTo>
                  <a:pt x="10794" y="1124839"/>
                </a:lnTo>
                <a:close/>
              </a:path>
              <a:path w="111760" h="1231264">
                <a:moveTo>
                  <a:pt x="46445" y="1175252"/>
                </a:moveTo>
                <a:lnTo>
                  <a:pt x="46989" y="1211834"/>
                </a:lnTo>
                <a:lnTo>
                  <a:pt x="66801" y="1211452"/>
                </a:lnTo>
                <a:lnTo>
                  <a:pt x="66732" y="1206753"/>
                </a:lnTo>
                <a:lnTo>
                  <a:pt x="48260" y="1206753"/>
                </a:lnTo>
                <a:lnTo>
                  <a:pt x="56558" y="1192031"/>
                </a:lnTo>
                <a:lnTo>
                  <a:pt x="46445" y="1175252"/>
                </a:lnTo>
                <a:close/>
              </a:path>
              <a:path w="111760" h="1231264">
                <a:moveTo>
                  <a:pt x="100202" y="1123441"/>
                </a:moveTo>
                <a:lnTo>
                  <a:pt x="94233" y="1125219"/>
                </a:lnTo>
                <a:lnTo>
                  <a:pt x="91566" y="1129918"/>
                </a:lnTo>
                <a:lnTo>
                  <a:pt x="66256" y="1174824"/>
                </a:lnTo>
                <a:lnTo>
                  <a:pt x="66801" y="1211452"/>
                </a:lnTo>
                <a:lnTo>
                  <a:pt x="46989" y="1211834"/>
                </a:lnTo>
                <a:lnTo>
                  <a:pt x="68118" y="1211834"/>
                </a:lnTo>
                <a:lnTo>
                  <a:pt x="108838" y="1139698"/>
                </a:lnTo>
                <a:lnTo>
                  <a:pt x="111505" y="1134872"/>
                </a:lnTo>
                <a:lnTo>
                  <a:pt x="109727" y="1128902"/>
                </a:lnTo>
                <a:lnTo>
                  <a:pt x="105028" y="1126109"/>
                </a:lnTo>
                <a:lnTo>
                  <a:pt x="100202" y="1123441"/>
                </a:lnTo>
                <a:close/>
              </a:path>
              <a:path w="111760" h="1231264">
                <a:moveTo>
                  <a:pt x="56558" y="1192031"/>
                </a:moveTo>
                <a:lnTo>
                  <a:pt x="48260" y="1206753"/>
                </a:lnTo>
                <a:lnTo>
                  <a:pt x="65277" y="1206500"/>
                </a:lnTo>
                <a:lnTo>
                  <a:pt x="56558" y="1192031"/>
                </a:lnTo>
                <a:close/>
              </a:path>
              <a:path w="111760" h="1231264">
                <a:moveTo>
                  <a:pt x="66256" y="1174824"/>
                </a:moveTo>
                <a:lnTo>
                  <a:pt x="56558" y="1192031"/>
                </a:lnTo>
                <a:lnTo>
                  <a:pt x="65277" y="1206500"/>
                </a:lnTo>
                <a:lnTo>
                  <a:pt x="48260" y="1206753"/>
                </a:lnTo>
                <a:lnTo>
                  <a:pt x="66732" y="1206753"/>
                </a:lnTo>
                <a:lnTo>
                  <a:pt x="66256" y="1174824"/>
                </a:lnTo>
                <a:close/>
              </a:path>
              <a:path w="111760" h="1231264">
                <a:moveTo>
                  <a:pt x="48767" y="0"/>
                </a:moveTo>
                <a:lnTo>
                  <a:pt x="28955" y="253"/>
                </a:lnTo>
                <a:lnTo>
                  <a:pt x="46445" y="1175252"/>
                </a:lnTo>
                <a:lnTo>
                  <a:pt x="56558" y="1192031"/>
                </a:lnTo>
                <a:lnTo>
                  <a:pt x="66256" y="1174824"/>
                </a:lnTo>
                <a:lnTo>
                  <a:pt x="48767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997888" y="1867448"/>
            <a:ext cx="3779367" cy="706337"/>
          </a:xfrm>
          <a:custGeom>
            <a:avLst/>
            <a:gdLst/>
            <a:ahLst/>
            <a:cxnLst/>
            <a:rect l="l" t="t" r="r" b="b"/>
            <a:pathLst>
              <a:path w="3856354" h="720725">
                <a:moveTo>
                  <a:pt x="84581" y="610362"/>
                </a:moveTo>
                <a:lnTo>
                  <a:pt x="0" y="681736"/>
                </a:lnTo>
                <a:lnTo>
                  <a:pt x="103759" y="720216"/>
                </a:lnTo>
                <a:lnTo>
                  <a:pt x="109347" y="717676"/>
                </a:lnTo>
                <a:lnTo>
                  <a:pt x="111251" y="712469"/>
                </a:lnTo>
                <a:lnTo>
                  <a:pt x="113156" y="707389"/>
                </a:lnTo>
                <a:lnTo>
                  <a:pt x="110617" y="701675"/>
                </a:lnTo>
                <a:lnTo>
                  <a:pt x="73979" y="688086"/>
                </a:lnTo>
                <a:lnTo>
                  <a:pt x="20955" y="688086"/>
                </a:lnTo>
                <a:lnTo>
                  <a:pt x="17653" y="668654"/>
                </a:lnTo>
                <a:lnTo>
                  <a:pt x="53543" y="662397"/>
                </a:lnTo>
                <a:lnTo>
                  <a:pt x="97281" y="625475"/>
                </a:lnTo>
                <a:lnTo>
                  <a:pt x="97917" y="619251"/>
                </a:lnTo>
                <a:lnTo>
                  <a:pt x="90805" y="610869"/>
                </a:lnTo>
                <a:lnTo>
                  <a:pt x="84581" y="610362"/>
                </a:lnTo>
                <a:close/>
              </a:path>
              <a:path w="3856354" h="720725">
                <a:moveTo>
                  <a:pt x="53543" y="662397"/>
                </a:moveTo>
                <a:lnTo>
                  <a:pt x="17653" y="668654"/>
                </a:lnTo>
                <a:lnTo>
                  <a:pt x="20955" y="688086"/>
                </a:lnTo>
                <a:lnTo>
                  <a:pt x="33339" y="685926"/>
                </a:lnTo>
                <a:lnTo>
                  <a:pt x="25654" y="685926"/>
                </a:lnTo>
                <a:lnTo>
                  <a:pt x="22732" y="669036"/>
                </a:lnTo>
                <a:lnTo>
                  <a:pt x="45674" y="669036"/>
                </a:lnTo>
                <a:lnTo>
                  <a:pt x="53543" y="662397"/>
                </a:lnTo>
                <a:close/>
              </a:path>
              <a:path w="3856354" h="720725">
                <a:moveTo>
                  <a:pt x="57051" y="681793"/>
                </a:moveTo>
                <a:lnTo>
                  <a:pt x="20955" y="688086"/>
                </a:lnTo>
                <a:lnTo>
                  <a:pt x="73979" y="688086"/>
                </a:lnTo>
                <a:lnTo>
                  <a:pt x="57051" y="681793"/>
                </a:lnTo>
                <a:close/>
              </a:path>
              <a:path w="3856354" h="720725">
                <a:moveTo>
                  <a:pt x="22732" y="669036"/>
                </a:moveTo>
                <a:lnTo>
                  <a:pt x="25654" y="685926"/>
                </a:lnTo>
                <a:lnTo>
                  <a:pt x="38657" y="674955"/>
                </a:lnTo>
                <a:lnTo>
                  <a:pt x="22732" y="669036"/>
                </a:lnTo>
                <a:close/>
              </a:path>
              <a:path w="3856354" h="720725">
                <a:moveTo>
                  <a:pt x="38657" y="674955"/>
                </a:moveTo>
                <a:lnTo>
                  <a:pt x="25654" y="685926"/>
                </a:lnTo>
                <a:lnTo>
                  <a:pt x="33339" y="685926"/>
                </a:lnTo>
                <a:lnTo>
                  <a:pt x="57051" y="681793"/>
                </a:lnTo>
                <a:lnTo>
                  <a:pt x="38657" y="674955"/>
                </a:lnTo>
                <a:close/>
              </a:path>
              <a:path w="3856354" h="720725">
                <a:moveTo>
                  <a:pt x="3852545" y="0"/>
                </a:moveTo>
                <a:lnTo>
                  <a:pt x="53543" y="662397"/>
                </a:lnTo>
                <a:lnTo>
                  <a:pt x="38657" y="674955"/>
                </a:lnTo>
                <a:lnTo>
                  <a:pt x="57051" y="681793"/>
                </a:lnTo>
                <a:lnTo>
                  <a:pt x="3855847" y="19557"/>
                </a:lnTo>
                <a:lnTo>
                  <a:pt x="3852545" y="0"/>
                </a:lnTo>
                <a:close/>
              </a:path>
              <a:path w="3856354" h="720725">
                <a:moveTo>
                  <a:pt x="45674" y="669036"/>
                </a:moveTo>
                <a:lnTo>
                  <a:pt x="22732" y="669036"/>
                </a:lnTo>
                <a:lnTo>
                  <a:pt x="38657" y="674955"/>
                </a:lnTo>
                <a:lnTo>
                  <a:pt x="45674" y="669036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791631" y="1879282"/>
            <a:ext cx="4423472" cy="449940"/>
          </a:xfrm>
          <a:custGeom>
            <a:avLst/>
            <a:gdLst/>
            <a:ahLst/>
            <a:cxnLst/>
            <a:rect l="l" t="t" r="r" b="b"/>
            <a:pathLst>
              <a:path w="4513580" h="459105">
                <a:moveTo>
                  <a:pt x="4456252" y="416600"/>
                </a:moveTo>
                <a:lnTo>
                  <a:pt x="4404613" y="440817"/>
                </a:lnTo>
                <a:lnTo>
                  <a:pt x="4402455" y="446786"/>
                </a:lnTo>
                <a:lnTo>
                  <a:pt x="4404740" y="451739"/>
                </a:lnTo>
                <a:lnTo>
                  <a:pt x="4407154" y="456692"/>
                </a:lnTo>
                <a:lnTo>
                  <a:pt x="4412996" y="458851"/>
                </a:lnTo>
                <a:lnTo>
                  <a:pt x="4417949" y="456438"/>
                </a:lnTo>
                <a:lnTo>
                  <a:pt x="4495880" y="419862"/>
                </a:lnTo>
                <a:lnTo>
                  <a:pt x="4492879" y="419862"/>
                </a:lnTo>
                <a:lnTo>
                  <a:pt x="4456252" y="416600"/>
                </a:lnTo>
                <a:close/>
              </a:path>
              <a:path w="4513580" h="459105">
                <a:moveTo>
                  <a:pt x="4473983" y="408271"/>
                </a:moveTo>
                <a:lnTo>
                  <a:pt x="4456252" y="416600"/>
                </a:lnTo>
                <a:lnTo>
                  <a:pt x="4492879" y="419862"/>
                </a:lnTo>
                <a:lnTo>
                  <a:pt x="4493039" y="418084"/>
                </a:lnTo>
                <a:lnTo>
                  <a:pt x="4487799" y="418084"/>
                </a:lnTo>
                <a:lnTo>
                  <a:pt x="4473983" y="408271"/>
                </a:lnTo>
                <a:close/>
              </a:path>
              <a:path w="4513580" h="459105">
                <a:moveTo>
                  <a:pt x="4422902" y="347726"/>
                </a:moveTo>
                <a:lnTo>
                  <a:pt x="4416679" y="348742"/>
                </a:lnTo>
                <a:lnTo>
                  <a:pt x="4410329" y="357632"/>
                </a:lnTo>
                <a:lnTo>
                  <a:pt x="4411472" y="363855"/>
                </a:lnTo>
                <a:lnTo>
                  <a:pt x="4457988" y="396910"/>
                </a:lnTo>
                <a:lnTo>
                  <a:pt x="4494657" y="400177"/>
                </a:lnTo>
                <a:lnTo>
                  <a:pt x="4492879" y="419862"/>
                </a:lnTo>
                <a:lnTo>
                  <a:pt x="4495880" y="419862"/>
                </a:lnTo>
                <a:lnTo>
                  <a:pt x="4513199" y="411734"/>
                </a:lnTo>
                <a:lnTo>
                  <a:pt x="4422902" y="347726"/>
                </a:lnTo>
                <a:close/>
              </a:path>
              <a:path w="4513580" h="459105">
                <a:moveTo>
                  <a:pt x="4489323" y="401066"/>
                </a:moveTo>
                <a:lnTo>
                  <a:pt x="4473983" y="408271"/>
                </a:lnTo>
                <a:lnTo>
                  <a:pt x="4487799" y="418084"/>
                </a:lnTo>
                <a:lnTo>
                  <a:pt x="4489323" y="401066"/>
                </a:lnTo>
                <a:close/>
              </a:path>
              <a:path w="4513580" h="459105">
                <a:moveTo>
                  <a:pt x="4494576" y="401066"/>
                </a:moveTo>
                <a:lnTo>
                  <a:pt x="4489323" y="401066"/>
                </a:lnTo>
                <a:lnTo>
                  <a:pt x="4487799" y="418084"/>
                </a:lnTo>
                <a:lnTo>
                  <a:pt x="4493039" y="418084"/>
                </a:lnTo>
                <a:lnTo>
                  <a:pt x="4494576" y="401066"/>
                </a:lnTo>
                <a:close/>
              </a:path>
              <a:path w="4513580" h="459105">
                <a:moveTo>
                  <a:pt x="1777" y="0"/>
                </a:moveTo>
                <a:lnTo>
                  <a:pt x="0" y="19812"/>
                </a:lnTo>
                <a:lnTo>
                  <a:pt x="4456252" y="416600"/>
                </a:lnTo>
                <a:lnTo>
                  <a:pt x="4473983" y="408271"/>
                </a:lnTo>
                <a:lnTo>
                  <a:pt x="4457988" y="396910"/>
                </a:lnTo>
                <a:lnTo>
                  <a:pt x="1777" y="0"/>
                </a:lnTo>
                <a:close/>
              </a:path>
              <a:path w="4513580" h="459105">
                <a:moveTo>
                  <a:pt x="4457988" y="396910"/>
                </a:moveTo>
                <a:lnTo>
                  <a:pt x="4473983" y="408271"/>
                </a:lnTo>
                <a:lnTo>
                  <a:pt x="4489323" y="401066"/>
                </a:lnTo>
                <a:lnTo>
                  <a:pt x="4494576" y="401066"/>
                </a:lnTo>
                <a:lnTo>
                  <a:pt x="4494657" y="400177"/>
                </a:lnTo>
                <a:lnTo>
                  <a:pt x="4457988" y="39691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624362" y="3668327"/>
            <a:ext cx="602709" cy="310429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38584" rIns="0" bIns="0" rtlCol="0" anchor="ctr">
            <a:spAutoFit/>
          </a:bodyPr>
          <a:lstStyle/>
          <a:p>
            <a:pPr marL="90234" algn="ctr" defTabSz="896112">
              <a:spcBef>
                <a:spcPts val="304"/>
              </a:spcBef>
            </a:pPr>
            <a:r>
              <a:rPr sz="1764" spc="-88" dirty="0">
                <a:solidFill>
                  <a:srgbClr val="FFFFFF"/>
                </a:solidFill>
                <a:cs typeface="Segoe UI Light"/>
              </a:rPr>
              <a:t>Yes</a:t>
            </a:r>
            <a:endParaRPr sz="1764" dirty="0">
              <a:solidFill>
                <a:prstClr val="black"/>
              </a:solidFill>
              <a:cs typeface="Segoe UI Light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225586" y="3428985"/>
            <a:ext cx="1585057" cy="551378"/>
          </a:xfrm>
          <a:custGeom>
            <a:avLst/>
            <a:gdLst/>
            <a:ahLst/>
            <a:cxnLst/>
            <a:rect l="l" t="t" r="r" b="b"/>
            <a:pathLst>
              <a:path w="1617345" h="562610">
                <a:moveTo>
                  <a:pt x="808482" y="0"/>
                </a:moveTo>
                <a:lnTo>
                  <a:pt x="738723" y="1031"/>
                </a:lnTo>
                <a:lnTo>
                  <a:pt x="670613" y="4071"/>
                </a:lnTo>
                <a:lnTo>
                  <a:pt x="604393" y="9033"/>
                </a:lnTo>
                <a:lnTo>
                  <a:pt x="540306" y="15835"/>
                </a:lnTo>
                <a:lnTo>
                  <a:pt x="478594" y="24390"/>
                </a:lnTo>
                <a:lnTo>
                  <a:pt x="419501" y="34616"/>
                </a:lnTo>
                <a:lnTo>
                  <a:pt x="363270" y="46428"/>
                </a:lnTo>
                <a:lnTo>
                  <a:pt x="310142" y="59742"/>
                </a:lnTo>
                <a:lnTo>
                  <a:pt x="260360" y="74473"/>
                </a:lnTo>
                <a:lnTo>
                  <a:pt x="214168" y="90536"/>
                </a:lnTo>
                <a:lnTo>
                  <a:pt x="171808" y="107849"/>
                </a:lnTo>
                <a:lnTo>
                  <a:pt x="133522" y="126325"/>
                </a:lnTo>
                <a:lnTo>
                  <a:pt x="99554" y="145882"/>
                </a:lnTo>
                <a:lnTo>
                  <a:pt x="45540" y="187897"/>
                </a:lnTo>
                <a:lnTo>
                  <a:pt x="11708" y="233221"/>
                </a:lnTo>
                <a:lnTo>
                  <a:pt x="0" y="281178"/>
                </a:lnTo>
                <a:lnTo>
                  <a:pt x="2967" y="305443"/>
                </a:lnTo>
                <a:lnTo>
                  <a:pt x="25980" y="352167"/>
                </a:lnTo>
                <a:lnTo>
                  <a:pt x="70146" y="395921"/>
                </a:lnTo>
                <a:lnTo>
                  <a:pt x="133522" y="436030"/>
                </a:lnTo>
                <a:lnTo>
                  <a:pt x="171808" y="454506"/>
                </a:lnTo>
                <a:lnTo>
                  <a:pt x="214168" y="471819"/>
                </a:lnTo>
                <a:lnTo>
                  <a:pt x="260360" y="487882"/>
                </a:lnTo>
                <a:lnTo>
                  <a:pt x="310142" y="502613"/>
                </a:lnTo>
                <a:lnTo>
                  <a:pt x="363270" y="515927"/>
                </a:lnTo>
                <a:lnTo>
                  <a:pt x="419501" y="527739"/>
                </a:lnTo>
                <a:lnTo>
                  <a:pt x="478594" y="537965"/>
                </a:lnTo>
                <a:lnTo>
                  <a:pt x="540306" y="546520"/>
                </a:lnTo>
                <a:lnTo>
                  <a:pt x="604393" y="553322"/>
                </a:lnTo>
                <a:lnTo>
                  <a:pt x="670613" y="558284"/>
                </a:lnTo>
                <a:lnTo>
                  <a:pt x="738723" y="561324"/>
                </a:lnTo>
                <a:lnTo>
                  <a:pt x="808482" y="562356"/>
                </a:lnTo>
                <a:lnTo>
                  <a:pt x="878243" y="561324"/>
                </a:lnTo>
                <a:lnTo>
                  <a:pt x="946357" y="558284"/>
                </a:lnTo>
                <a:lnTo>
                  <a:pt x="1012579" y="553322"/>
                </a:lnTo>
                <a:lnTo>
                  <a:pt x="1076667" y="546520"/>
                </a:lnTo>
                <a:lnTo>
                  <a:pt x="1138380" y="537965"/>
                </a:lnTo>
                <a:lnTo>
                  <a:pt x="1197473" y="527739"/>
                </a:lnTo>
                <a:lnTo>
                  <a:pt x="1253704" y="515927"/>
                </a:lnTo>
                <a:lnTo>
                  <a:pt x="1306832" y="502613"/>
                </a:lnTo>
                <a:lnTo>
                  <a:pt x="1356613" y="487882"/>
                </a:lnTo>
                <a:lnTo>
                  <a:pt x="1402804" y="471819"/>
                </a:lnTo>
                <a:lnTo>
                  <a:pt x="1445163" y="454506"/>
                </a:lnTo>
                <a:lnTo>
                  <a:pt x="1483447" y="436030"/>
                </a:lnTo>
                <a:lnTo>
                  <a:pt x="1517414" y="416473"/>
                </a:lnTo>
                <a:lnTo>
                  <a:pt x="1571425" y="374458"/>
                </a:lnTo>
                <a:lnTo>
                  <a:pt x="1605255" y="329134"/>
                </a:lnTo>
                <a:lnTo>
                  <a:pt x="1616964" y="281178"/>
                </a:lnTo>
                <a:lnTo>
                  <a:pt x="1613996" y="256912"/>
                </a:lnTo>
                <a:lnTo>
                  <a:pt x="1590984" y="210188"/>
                </a:lnTo>
                <a:lnTo>
                  <a:pt x="1546821" y="166434"/>
                </a:lnTo>
                <a:lnTo>
                  <a:pt x="1483447" y="126325"/>
                </a:lnTo>
                <a:lnTo>
                  <a:pt x="1445163" y="107849"/>
                </a:lnTo>
                <a:lnTo>
                  <a:pt x="1402804" y="90536"/>
                </a:lnTo>
                <a:lnTo>
                  <a:pt x="1356613" y="74473"/>
                </a:lnTo>
                <a:lnTo>
                  <a:pt x="1306832" y="59742"/>
                </a:lnTo>
                <a:lnTo>
                  <a:pt x="1253704" y="46428"/>
                </a:lnTo>
                <a:lnTo>
                  <a:pt x="1197473" y="34616"/>
                </a:lnTo>
                <a:lnTo>
                  <a:pt x="1138380" y="24390"/>
                </a:lnTo>
                <a:lnTo>
                  <a:pt x="1076667" y="15835"/>
                </a:lnTo>
                <a:lnTo>
                  <a:pt x="1012579" y="9033"/>
                </a:lnTo>
                <a:lnTo>
                  <a:pt x="946357" y="4071"/>
                </a:lnTo>
                <a:lnTo>
                  <a:pt x="878243" y="1031"/>
                </a:lnTo>
                <a:lnTo>
                  <a:pt x="808482" y="0"/>
                </a:lnTo>
                <a:close/>
              </a:path>
            </a:pathLst>
          </a:custGeom>
          <a:solidFill>
            <a:srgbClr val="CF0071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225585" y="3428985"/>
            <a:ext cx="1868898" cy="551378"/>
          </a:xfrm>
          <a:custGeom>
            <a:avLst/>
            <a:gdLst/>
            <a:ahLst/>
            <a:cxnLst/>
            <a:rect l="l" t="t" r="r" b="b"/>
            <a:pathLst>
              <a:path w="1617345" h="562610">
                <a:moveTo>
                  <a:pt x="0" y="281178"/>
                </a:moveTo>
                <a:lnTo>
                  <a:pt x="11708" y="233221"/>
                </a:lnTo>
                <a:lnTo>
                  <a:pt x="45540" y="187897"/>
                </a:lnTo>
                <a:lnTo>
                  <a:pt x="99554" y="145882"/>
                </a:lnTo>
                <a:lnTo>
                  <a:pt x="133522" y="126325"/>
                </a:lnTo>
                <a:lnTo>
                  <a:pt x="171808" y="107849"/>
                </a:lnTo>
                <a:lnTo>
                  <a:pt x="214168" y="90536"/>
                </a:lnTo>
                <a:lnTo>
                  <a:pt x="260360" y="74473"/>
                </a:lnTo>
                <a:lnTo>
                  <a:pt x="310142" y="59742"/>
                </a:lnTo>
                <a:lnTo>
                  <a:pt x="363270" y="46428"/>
                </a:lnTo>
                <a:lnTo>
                  <a:pt x="419501" y="34616"/>
                </a:lnTo>
                <a:lnTo>
                  <a:pt x="478594" y="24390"/>
                </a:lnTo>
                <a:lnTo>
                  <a:pt x="540306" y="15835"/>
                </a:lnTo>
                <a:lnTo>
                  <a:pt x="604393" y="9033"/>
                </a:lnTo>
                <a:lnTo>
                  <a:pt x="670613" y="4071"/>
                </a:lnTo>
                <a:lnTo>
                  <a:pt x="738723" y="1031"/>
                </a:lnTo>
                <a:lnTo>
                  <a:pt x="808482" y="0"/>
                </a:lnTo>
                <a:lnTo>
                  <a:pt x="878243" y="1031"/>
                </a:lnTo>
                <a:lnTo>
                  <a:pt x="946357" y="4071"/>
                </a:lnTo>
                <a:lnTo>
                  <a:pt x="1012579" y="9033"/>
                </a:lnTo>
                <a:lnTo>
                  <a:pt x="1076667" y="15835"/>
                </a:lnTo>
                <a:lnTo>
                  <a:pt x="1138380" y="24390"/>
                </a:lnTo>
                <a:lnTo>
                  <a:pt x="1197473" y="34616"/>
                </a:lnTo>
                <a:lnTo>
                  <a:pt x="1253704" y="46428"/>
                </a:lnTo>
                <a:lnTo>
                  <a:pt x="1306832" y="59742"/>
                </a:lnTo>
                <a:lnTo>
                  <a:pt x="1356613" y="74473"/>
                </a:lnTo>
                <a:lnTo>
                  <a:pt x="1402804" y="90536"/>
                </a:lnTo>
                <a:lnTo>
                  <a:pt x="1445163" y="107849"/>
                </a:lnTo>
                <a:lnTo>
                  <a:pt x="1483447" y="126325"/>
                </a:lnTo>
                <a:lnTo>
                  <a:pt x="1517414" y="145882"/>
                </a:lnTo>
                <a:lnTo>
                  <a:pt x="1571425" y="187897"/>
                </a:lnTo>
                <a:lnTo>
                  <a:pt x="1605255" y="233221"/>
                </a:lnTo>
                <a:lnTo>
                  <a:pt x="1616964" y="281178"/>
                </a:lnTo>
                <a:lnTo>
                  <a:pt x="1613996" y="305443"/>
                </a:lnTo>
                <a:lnTo>
                  <a:pt x="1590984" y="352167"/>
                </a:lnTo>
                <a:lnTo>
                  <a:pt x="1546821" y="395921"/>
                </a:lnTo>
                <a:lnTo>
                  <a:pt x="1483447" y="436030"/>
                </a:lnTo>
                <a:lnTo>
                  <a:pt x="1445163" y="454506"/>
                </a:lnTo>
                <a:lnTo>
                  <a:pt x="1402804" y="471819"/>
                </a:lnTo>
                <a:lnTo>
                  <a:pt x="1356613" y="487882"/>
                </a:lnTo>
                <a:lnTo>
                  <a:pt x="1306832" y="502613"/>
                </a:lnTo>
                <a:lnTo>
                  <a:pt x="1253704" y="515927"/>
                </a:lnTo>
                <a:lnTo>
                  <a:pt x="1197473" y="527739"/>
                </a:lnTo>
                <a:lnTo>
                  <a:pt x="1138380" y="537965"/>
                </a:lnTo>
                <a:lnTo>
                  <a:pt x="1076667" y="546520"/>
                </a:lnTo>
                <a:lnTo>
                  <a:pt x="1012579" y="553322"/>
                </a:lnTo>
                <a:lnTo>
                  <a:pt x="946357" y="558284"/>
                </a:lnTo>
                <a:lnTo>
                  <a:pt x="878243" y="561324"/>
                </a:lnTo>
                <a:lnTo>
                  <a:pt x="808482" y="562356"/>
                </a:lnTo>
                <a:lnTo>
                  <a:pt x="738723" y="561324"/>
                </a:lnTo>
                <a:lnTo>
                  <a:pt x="670613" y="558284"/>
                </a:lnTo>
                <a:lnTo>
                  <a:pt x="604393" y="553322"/>
                </a:lnTo>
                <a:lnTo>
                  <a:pt x="540306" y="546520"/>
                </a:lnTo>
                <a:lnTo>
                  <a:pt x="478594" y="537965"/>
                </a:lnTo>
                <a:lnTo>
                  <a:pt x="419501" y="527739"/>
                </a:lnTo>
                <a:lnTo>
                  <a:pt x="363270" y="515927"/>
                </a:lnTo>
                <a:lnTo>
                  <a:pt x="310142" y="502613"/>
                </a:lnTo>
                <a:lnTo>
                  <a:pt x="260360" y="487882"/>
                </a:lnTo>
                <a:lnTo>
                  <a:pt x="214168" y="471819"/>
                </a:lnTo>
                <a:lnTo>
                  <a:pt x="171808" y="454506"/>
                </a:lnTo>
                <a:lnTo>
                  <a:pt x="133522" y="436030"/>
                </a:lnTo>
                <a:lnTo>
                  <a:pt x="99554" y="416473"/>
                </a:lnTo>
                <a:lnTo>
                  <a:pt x="45540" y="374458"/>
                </a:lnTo>
                <a:lnTo>
                  <a:pt x="11708" y="329134"/>
                </a:lnTo>
                <a:lnTo>
                  <a:pt x="0" y="281178"/>
                </a:lnTo>
                <a:close/>
              </a:path>
            </a:pathLst>
          </a:cu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wrap="square" lIns="0" tIns="0" rIns="0" bIns="0" rtlCol="0" anchor="ctr"/>
          <a:lstStyle/>
          <a:p>
            <a:pPr algn="ctr"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372109" y="3463561"/>
            <a:ext cx="1487964" cy="4222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5921" defTabSz="896112">
              <a:spcBef>
                <a:spcPts val="191"/>
              </a:spcBef>
            </a:pPr>
            <a:r>
              <a:rPr sz="2744" spc="-5" dirty="0">
                <a:solidFill>
                  <a:prstClr val="white"/>
                </a:solidFill>
                <a:cs typeface="Segoe UI Light"/>
              </a:rPr>
              <a:t>Humidity</a:t>
            </a:r>
          </a:p>
        </p:txBody>
      </p:sp>
      <p:sp>
        <p:nvSpPr>
          <p:cNvPr id="17" name="object 17"/>
          <p:cNvSpPr/>
          <p:nvPr/>
        </p:nvSpPr>
        <p:spPr>
          <a:xfrm>
            <a:off x="1968141" y="2953656"/>
            <a:ext cx="109529" cy="474832"/>
          </a:xfrm>
          <a:custGeom>
            <a:avLst/>
            <a:gdLst/>
            <a:ahLst/>
            <a:cxnLst/>
            <a:rect l="l" t="t" r="r" b="b"/>
            <a:pathLst>
              <a:path w="111760" h="484505">
                <a:moveTo>
                  <a:pt x="11430" y="375412"/>
                </a:moveTo>
                <a:lnTo>
                  <a:pt x="6604" y="378079"/>
                </a:lnTo>
                <a:lnTo>
                  <a:pt x="1778" y="380619"/>
                </a:lnTo>
                <a:lnTo>
                  <a:pt x="0" y="386588"/>
                </a:lnTo>
                <a:lnTo>
                  <a:pt x="51562" y="484505"/>
                </a:lnTo>
                <a:lnTo>
                  <a:pt x="63969" y="465200"/>
                </a:lnTo>
                <a:lnTo>
                  <a:pt x="62356" y="465200"/>
                </a:lnTo>
                <a:lnTo>
                  <a:pt x="42544" y="464438"/>
                </a:lnTo>
                <a:lnTo>
                  <a:pt x="44108" y="427778"/>
                </a:lnTo>
                <a:lnTo>
                  <a:pt x="17525" y="377317"/>
                </a:lnTo>
                <a:lnTo>
                  <a:pt x="11430" y="375412"/>
                </a:lnTo>
                <a:close/>
              </a:path>
              <a:path w="111760" h="484505">
                <a:moveTo>
                  <a:pt x="44108" y="427778"/>
                </a:moveTo>
                <a:lnTo>
                  <a:pt x="42544" y="464438"/>
                </a:lnTo>
                <a:lnTo>
                  <a:pt x="62356" y="465200"/>
                </a:lnTo>
                <a:lnTo>
                  <a:pt x="62568" y="460248"/>
                </a:lnTo>
                <a:lnTo>
                  <a:pt x="61213" y="460248"/>
                </a:lnTo>
                <a:lnTo>
                  <a:pt x="44068" y="459486"/>
                </a:lnTo>
                <a:lnTo>
                  <a:pt x="53259" y="445148"/>
                </a:lnTo>
                <a:lnTo>
                  <a:pt x="44108" y="427778"/>
                </a:lnTo>
                <a:close/>
              </a:path>
              <a:path w="111760" h="484505">
                <a:moveTo>
                  <a:pt x="100837" y="379349"/>
                </a:moveTo>
                <a:lnTo>
                  <a:pt x="94742" y="380619"/>
                </a:lnTo>
                <a:lnTo>
                  <a:pt x="91693" y="385191"/>
                </a:lnTo>
                <a:lnTo>
                  <a:pt x="63921" y="428515"/>
                </a:lnTo>
                <a:lnTo>
                  <a:pt x="62356" y="465200"/>
                </a:lnTo>
                <a:lnTo>
                  <a:pt x="63969" y="465200"/>
                </a:lnTo>
                <a:lnTo>
                  <a:pt x="108458" y="395986"/>
                </a:lnTo>
                <a:lnTo>
                  <a:pt x="111379" y="391287"/>
                </a:lnTo>
                <a:lnTo>
                  <a:pt x="109981" y="385191"/>
                </a:lnTo>
                <a:lnTo>
                  <a:pt x="100837" y="379349"/>
                </a:lnTo>
                <a:close/>
              </a:path>
              <a:path w="111760" h="484505">
                <a:moveTo>
                  <a:pt x="53259" y="445148"/>
                </a:moveTo>
                <a:lnTo>
                  <a:pt x="44068" y="459486"/>
                </a:lnTo>
                <a:lnTo>
                  <a:pt x="61213" y="460248"/>
                </a:lnTo>
                <a:lnTo>
                  <a:pt x="53259" y="445148"/>
                </a:lnTo>
                <a:close/>
              </a:path>
              <a:path w="111760" h="484505">
                <a:moveTo>
                  <a:pt x="63921" y="428515"/>
                </a:moveTo>
                <a:lnTo>
                  <a:pt x="53259" y="445148"/>
                </a:lnTo>
                <a:lnTo>
                  <a:pt x="61213" y="460248"/>
                </a:lnTo>
                <a:lnTo>
                  <a:pt x="62568" y="460248"/>
                </a:lnTo>
                <a:lnTo>
                  <a:pt x="63921" y="428515"/>
                </a:lnTo>
                <a:close/>
              </a:path>
              <a:path w="111760" h="484505">
                <a:moveTo>
                  <a:pt x="62356" y="0"/>
                </a:moveTo>
                <a:lnTo>
                  <a:pt x="44108" y="427778"/>
                </a:lnTo>
                <a:lnTo>
                  <a:pt x="53259" y="445148"/>
                </a:lnTo>
                <a:lnTo>
                  <a:pt x="63921" y="428515"/>
                </a:lnTo>
                <a:lnTo>
                  <a:pt x="82168" y="762"/>
                </a:lnTo>
                <a:lnTo>
                  <a:pt x="62356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77845" y="4509541"/>
            <a:ext cx="979326" cy="448048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5514" rIns="0" bIns="0" rtlCol="0" anchor="ctr">
            <a:spAutoFit/>
          </a:bodyPr>
          <a:lstStyle/>
          <a:p>
            <a:pPr marL="75921" algn="ctr" defTabSz="896112">
              <a:spcBef>
                <a:spcPts val="191"/>
              </a:spcBef>
            </a:pPr>
            <a:r>
              <a:rPr sz="2744" spc="-5" dirty="0">
                <a:solidFill>
                  <a:prstClr val="white"/>
                </a:solidFill>
                <a:cs typeface="Segoe UI Light"/>
              </a:rPr>
              <a:t>High</a:t>
            </a:r>
          </a:p>
        </p:txBody>
      </p:sp>
      <p:sp>
        <p:nvSpPr>
          <p:cNvPr id="19" name="object 19"/>
          <p:cNvSpPr txBox="1"/>
          <p:nvPr/>
        </p:nvSpPr>
        <p:spPr>
          <a:xfrm>
            <a:off x="2703786" y="4513372"/>
            <a:ext cx="1282922" cy="447421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4893" rIns="0" bIns="0" rtlCol="0" anchor="ctr">
            <a:spAutoFit/>
          </a:bodyPr>
          <a:lstStyle/>
          <a:p>
            <a:pPr marL="75298" algn="ctr" defTabSz="896112">
              <a:spcBef>
                <a:spcPts val="196"/>
              </a:spcBef>
            </a:pPr>
            <a:r>
              <a:rPr sz="2744" spc="-5" dirty="0">
                <a:solidFill>
                  <a:prstClr val="white"/>
                </a:solidFill>
                <a:cs typeface="Segoe UI Light"/>
              </a:rPr>
              <a:t>Normal</a:t>
            </a:r>
          </a:p>
        </p:txBody>
      </p:sp>
      <p:sp>
        <p:nvSpPr>
          <p:cNvPr id="20" name="object 20"/>
          <p:cNvSpPr/>
          <p:nvPr/>
        </p:nvSpPr>
        <p:spPr>
          <a:xfrm>
            <a:off x="1123984" y="3971651"/>
            <a:ext cx="899879" cy="502215"/>
          </a:xfrm>
          <a:custGeom>
            <a:avLst/>
            <a:gdLst/>
            <a:ahLst/>
            <a:cxnLst/>
            <a:rect l="l" t="t" r="r" b="b"/>
            <a:pathLst>
              <a:path w="918210" h="512445">
                <a:moveTo>
                  <a:pt x="63093" y="412750"/>
                </a:moveTo>
                <a:lnTo>
                  <a:pt x="57010" y="414274"/>
                </a:lnTo>
                <a:lnTo>
                  <a:pt x="0" y="509143"/>
                </a:lnTo>
                <a:lnTo>
                  <a:pt x="110629" y="512063"/>
                </a:lnTo>
                <a:lnTo>
                  <a:pt x="114507" y="508381"/>
                </a:lnTo>
                <a:lnTo>
                  <a:pt x="21996" y="508381"/>
                </a:lnTo>
                <a:lnTo>
                  <a:pt x="12471" y="490981"/>
                </a:lnTo>
                <a:lnTo>
                  <a:pt x="44665" y="473333"/>
                </a:lnTo>
                <a:lnTo>
                  <a:pt x="73990" y="424561"/>
                </a:lnTo>
                <a:lnTo>
                  <a:pt x="72478" y="418464"/>
                </a:lnTo>
                <a:lnTo>
                  <a:pt x="67779" y="415670"/>
                </a:lnTo>
                <a:lnTo>
                  <a:pt x="63093" y="412750"/>
                </a:lnTo>
                <a:close/>
              </a:path>
              <a:path w="918210" h="512445">
                <a:moveTo>
                  <a:pt x="44665" y="473333"/>
                </a:moveTo>
                <a:lnTo>
                  <a:pt x="12471" y="490981"/>
                </a:lnTo>
                <a:lnTo>
                  <a:pt x="21996" y="508381"/>
                </a:lnTo>
                <a:lnTo>
                  <a:pt x="28481" y="504825"/>
                </a:lnTo>
                <a:lnTo>
                  <a:pt x="25730" y="504825"/>
                </a:lnTo>
                <a:lnTo>
                  <a:pt x="17500" y="489838"/>
                </a:lnTo>
                <a:lnTo>
                  <a:pt x="34740" y="489838"/>
                </a:lnTo>
                <a:lnTo>
                  <a:pt x="44665" y="473333"/>
                </a:lnTo>
                <a:close/>
              </a:path>
              <a:path w="918210" h="512445">
                <a:moveTo>
                  <a:pt x="54081" y="490787"/>
                </a:moveTo>
                <a:lnTo>
                  <a:pt x="21996" y="508381"/>
                </a:lnTo>
                <a:lnTo>
                  <a:pt x="114507" y="508381"/>
                </a:lnTo>
                <a:lnTo>
                  <a:pt x="115176" y="507745"/>
                </a:lnTo>
                <a:lnTo>
                  <a:pt x="115468" y="496824"/>
                </a:lnTo>
                <a:lnTo>
                  <a:pt x="111150" y="492251"/>
                </a:lnTo>
                <a:lnTo>
                  <a:pt x="54081" y="490787"/>
                </a:lnTo>
                <a:close/>
              </a:path>
              <a:path w="918210" h="512445">
                <a:moveTo>
                  <a:pt x="17500" y="489838"/>
                </a:moveTo>
                <a:lnTo>
                  <a:pt x="25730" y="504825"/>
                </a:lnTo>
                <a:lnTo>
                  <a:pt x="34476" y="490279"/>
                </a:lnTo>
                <a:lnTo>
                  <a:pt x="17500" y="489838"/>
                </a:lnTo>
                <a:close/>
              </a:path>
              <a:path w="918210" h="512445">
                <a:moveTo>
                  <a:pt x="34476" y="490279"/>
                </a:moveTo>
                <a:lnTo>
                  <a:pt x="25730" y="504825"/>
                </a:lnTo>
                <a:lnTo>
                  <a:pt x="28481" y="504825"/>
                </a:lnTo>
                <a:lnTo>
                  <a:pt x="54081" y="490787"/>
                </a:lnTo>
                <a:lnTo>
                  <a:pt x="34476" y="490279"/>
                </a:lnTo>
                <a:close/>
              </a:path>
              <a:path w="918210" h="512445">
                <a:moveTo>
                  <a:pt x="908088" y="0"/>
                </a:moveTo>
                <a:lnTo>
                  <a:pt x="44665" y="473333"/>
                </a:lnTo>
                <a:lnTo>
                  <a:pt x="34476" y="490279"/>
                </a:lnTo>
                <a:lnTo>
                  <a:pt x="54081" y="490787"/>
                </a:lnTo>
                <a:lnTo>
                  <a:pt x="917613" y="17272"/>
                </a:lnTo>
                <a:lnTo>
                  <a:pt x="908088" y="0"/>
                </a:lnTo>
                <a:close/>
              </a:path>
              <a:path w="918210" h="512445">
                <a:moveTo>
                  <a:pt x="34740" y="489838"/>
                </a:moveTo>
                <a:lnTo>
                  <a:pt x="17500" y="489838"/>
                </a:lnTo>
                <a:lnTo>
                  <a:pt x="34476" y="490279"/>
                </a:lnTo>
                <a:lnTo>
                  <a:pt x="34740" y="489838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018113" y="3983541"/>
            <a:ext cx="1140096" cy="472966"/>
          </a:xfrm>
          <a:custGeom>
            <a:avLst/>
            <a:gdLst/>
            <a:ahLst/>
            <a:cxnLst/>
            <a:rect l="l" t="t" r="r" b="b"/>
            <a:pathLst>
              <a:path w="1163320" h="482600">
                <a:moveTo>
                  <a:pt x="1107012" y="453782"/>
                </a:moveTo>
                <a:lnTo>
                  <a:pt x="1050670" y="462534"/>
                </a:lnTo>
                <a:lnTo>
                  <a:pt x="1046988" y="467613"/>
                </a:lnTo>
                <a:lnTo>
                  <a:pt x="1047876" y="472948"/>
                </a:lnTo>
                <a:lnTo>
                  <a:pt x="1048639" y="478409"/>
                </a:lnTo>
                <a:lnTo>
                  <a:pt x="1053719" y="482092"/>
                </a:lnTo>
                <a:lnTo>
                  <a:pt x="1149874" y="467232"/>
                </a:lnTo>
                <a:lnTo>
                  <a:pt x="1141221" y="467232"/>
                </a:lnTo>
                <a:lnTo>
                  <a:pt x="1107012" y="453782"/>
                </a:lnTo>
                <a:close/>
              </a:path>
              <a:path w="1163320" h="482600">
                <a:moveTo>
                  <a:pt x="1126471" y="450776"/>
                </a:moveTo>
                <a:lnTo>
                  <a:pt x="1107012" y="453782"/>
                </a:lnTo>
                <a:lnTo>
                  <a:pt x="1141221" y="467232"/>
                </a:lnTo>
                <a:lnTo>
                  <a:pt x="1142420" y="464185"/>
                </a:lnTo>
                <a:lnTo>
                  <a:pt x="1137031" y="464185"/>
                </a:lnTo>
                <a:lnTo>
                  <a:pt x="1126471" y="450776"/>
                </a:lnTo>
                <a:close/>
              </a:path>
              <a:path w="1163320" h="482600">
                <a:moveTo>
                  <a:pt x="1088263" y="377571"/>
                </a:moveTo>
                <a:lnTo>
                  <a:pt x="1079754" y="384301"/>
                </a:lnTo>
                <a:lnTo>
                  <a:pt x="1078992" y="390525"/>
                </a:lnTo>
                <a:lnTo>
                  <a:pt x="1082420" y="394843"/>
                </a:lnTo>
                <a:lnTo>
                  <a:pt x="1114368" y="435408"/>
                </a:lnTo>
                <a:lnTo>
                  <a:pt x="1148461" y="448818"/>
                </a:lnTo>
                <a:lnTo>
                  <a:pt x="1141221" y="467232"/>
                </a:lnTo>
                <a:lnTo>
                  <a:pt x="1149874" y="467232"/>
                </a:lnTo>
                <a:lnTo>
                  <a:pt x="1163065" y="465200"/>
                </a:lnTo>
                <a:lnTo>
                  <a:pt x="1094486" y="378332"/>
                </a:lnTo>
                <a:lnTo>
                  <a:pt x="1088263" y="377571"/>
                </a:lnTo>
                <a:close/>
              </a:path>
              <a:path w="1163320" h="482600">
                <a:moveTo>
                  <a:pt x="1143254" y="448182"/>
                </a:moveTo>
                <a:lnTo>
                  <a:pt x="1126471" y="450776"/>
                </a:lnTo>
                <a:lnTo>
                  <a:pt x="1137031" y="464185"/>
                </a:lnTo>
                <a:lnTo>
                  <a:pt x="1143254" y="448182"/>
                </a:lnTo>
                <a:close/>
              </a:path>
              <a:path w="1163320" h="482600">
                <a:moveTo>
                  <a:pt x="1146846" y="448182"/>
                </a:moveTo>
                <a:lnTo>
                  <a:pt x="1143254" y="448182"/>
                </a:lnTo>
                <a:lnTo>
                  <a:pt x="1137031" y="464185"/>
                </a:lnTo>
                <a:lnTo>
                  <a:pt x="1142420" y="464185"/>
                </a:lnTo>
                <a:lnTo>
                  <a:pt x="1148461" y="448818"/>
                </a:lnTo>
                <a:lnTo>
                  <a:pt x="1146846" y="448182"/>
                </a:lnTo>
                <a:close/>
              </a:path>
              <a:path w="1163320" h="482600">
                <a:moveTo>
                  <a:pt x="7365" y="0"/>
                </a:moveTo>
                <a:lnTo>
                  <a:pt x="0" y="18541"/>
                </a:lnTo>
                <a:lnTo>
                  <a:pt x="1107012" y="453782"/>
                </a:lnTo>
                <a:lnTo>
                  <a:pt x="1126471" y="450776"/>
                </a:lnTo>
                <a:lnTo>
                  <a:pt x="1114368" y="435408"/>
                </a:lnTo>
                <a:lnTo>
                  <a:pt x="7365" y="0"/>
                </a:lnTo>
                <a:close/>
              </a:path>
              <a:path w="1163320" h="482600">
                <a:moveTo>
                  <a:pt x="1114368" y="435408"/>
                </a:moveTo>
                <a:lnTo>
                  <a:pt x="1126471" y="450776"/>
                </a:lnTo>
                <a:lnTo>
                  <a:pt x="1143254" y="448182"/>
                </a:lnTo>
                <a:lnTo>
                  <a:pt x="1146846" y="448182"/>
                </a:lnTo>
                <a:lnTo>
                  <a:pt x="1114368" y="435408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9517479" y="3186207"/>
            <a:ext cx="1461092" cy="588417"/>
          </a:xfrm>
          <a:custGeom>
            <a:avLst/>
            <a:gdLst/>
            <a:ahLst/>
            <a:cxnLst/>
            <a:rect l="l" t="t" r="r" b="b"/>
            <a:pathLst>
              <a:path w="1053465" h="562610">
                <a:moveTo>
                  <a:pt x="526542" y="0"/>
                </a:moveTo>
                <a:lnTo>
                  <a:pt x="465130" y="1891"/>
                </a:lnTo>
                <a:lnTo>
                  <a:pt x="405801" y="7424"/>
                </a:lnTo>
                <a:lnTo>
                  <a:pt x="348949" y="16388"/>
                </a:lnTo>
                <a:lnTo>
                  <a:pt x="294969" y="28573"/>
                </a:lnTo>
                <a:lnTo>
                  <a:pt x="244256" y="43768"/>
                </a:lnTo>
                <a:lnTo>
                  <a:pt x="197204" y="61761"/>
                </a:lnTo>
                <a:lnTo>
                  <a:pt x="154209" y="82343"/>
                </a:lnTo>
                <a:lnTo>
                  <a:pt x="115666" y="105302"/>
                </a:lnTo>
                <a:lnTo>
                  <a:pt x="81969" y="130428"/>
                </a:lnTo>
                <a:lnTo>
                  <a:pt x="53513" y="157509"/>
                </a:lnTo>
                <a:lnTo>
                  <a:pt x="13904" y="216696"/>
                </a:lnTo>
                <a:lnTo>
                  <a:pt x="0" y="281177"/>
                </a:lnTo>
                <a:lnTo>
                  <a:pt x="3542" y="313974"/>
                </a:lnTo>
                <a:lnTo>
                  <a:pt x="30693" y="376019"/>
                </a:lnTo>
                <a:lnTo>
                  <a:pt x="81969" y="431927"/>
                </a:lnTo>
                <a:lnTo>
                  <a:pt x="115666" y="457053"/>
                </a:lnTo>
                <a:lnTo>
                  <a:pt x="154209" y="480012"/>
                </a:lnTo>
                <a:lnTo>
                  <a:pt x="197204" y="500594"/>
                </a:lnTo>
                <a:lnTo>
                  <a:pt x="244256" y="518587"/>
                </a:lnTo>
                <a:lnTo>
                  <a:pt x="294969" y="533782"/>
                </a:lnTo>
                <a:lnTo>
                  <a:pt x="348949" y="545967"/>
                </a:lnTo>
                <a:lnTo>
                  <a:pt x="405801" y="554931"/>
                </a:lnTo>
                <a:lnTo>
                  <a:pt x="465130" y="560464"/>
                </a:lnTo>
                <a:lnTo>
                  <a:pt x="526542" y="562355"/>
                </a:lnTo>
                <a:lnTo>
                  <a:pt x="587953" y="560464"/>
                </a:lnTo>
                <a:lnTo>
                  <a:pt x="647282" y="554931"/>
                </a:lnTo>
                <a:lnTo>
                  <a:pt x="704134" y="545967"/>
                </a:lnTo>
                <a:lnTo>
                  <a:pt x="758114" y="533782"/>
                </a:lnTo>
                <a:lnTo>
                  <a:pt x="808827" y="518587"/>
                </a:lnTo>
                <a:lnTo>
                  <a:pt x="855879" y="500594"/>
                </a:lnTo>
                <a:lnTo>
                  <a:pt x="898874" y="480012"/>
                </a:lnTo>
                <a:lnTo>
                  <a:pt x="937417" y="457053"/>
                </a:lnTo>
                <a:lnTo>
                  <a:pt x="971114" y="431927"/>
                </a:lnTo>
                <a:lnTo>
                  <a:pt x="999570" y="404846"/>
                </a:lnTo>
                <a:lnTo>
                  <a:pt x="1039179" y="345659"/>
                </a:lnTo>
                <a:lnTo>
                  <a:pt x="1053083" y="281177"/>
                </a:lnTo>
                <a:lnTo>
                  <a:pt x="1049541" y="248381"/>
                </a:lnTo>
                <a:lnTo>
                  <a:pt x="1022390" y="186336"/>
                </a:lnTo>
                <a:lnTo>
                  <a:pt x="971114" y="130428"/>
                </a:lnTo>
                <a:lnTo>
                  <a:pt x="937417" y="105302"/>
                </a:lnTo>
                <a:lnTo>
                  <a:pt x="898874" y="82343"/>
                </a:lnTo>
                <a:lnTo>
                  <a:pt x="855879" y="61761"/>
                </a:lnTo>
                <a:lnTo>
                  <a:pt x="808827" y="43768"/>
                </a:lnTo>
                <a:lnTo>
                  <a:pt x="758114" y="28573"/>
                </a:lnTo>
                <a:lnTo>
                  <a:pt x="704134" y="16388"/>
                </a:lnTo>
                <a:lnTo>
                  <a:pt x="647282" y="7424"/>
                </a:lnTo>
                <a:lnTo>
                  <a:pt x="587953" y="1891"/>
                </a:lnTo>
                <a:lnTo>
                  <a:pt x="526542" y="0"/>
                </a:lnTo>
                <a:close/>
              </a:path>
            </a:pathLst>
          </a:custGeom>
          <a:solidFill>
            <a:srgbClr val="0070C0"/>
          </a:solidFill>
          <a:ln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9777861" y="3282390"/>
            <a:ext cx="940325" cy="422285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marL="75921" algn="ctr" defTabSz="896112">
              <a:spcBef>
                <a:spcPts val="191"/>
              </a:spcBef>
            </a:pPr>
            <a:r>
              <a:rPr sz="2744" spc="-5" dirty="0">
                <a:solidFill>
                  <a:prstClr val="white"/>
                </a:solidFill>
                <a:cs typeface="Segoe UI Light"/>
              </a:rPr>
              <a:t>Wind</a:t>
            </a:r>
          </a:p>
        </p:txBody>
      </p:sp>
      <p:sp>
        <p:nvSpPr>
          <p:cNvPr id="25" name="object 25"/>
          <p:cNvSpPr txBox="1"/>
          <p:nvPr/>
        </p:nvSpPr>
        <p:spPr>
          <a:xfrm>
            <a:off x="8822404" y="4337381"/>
            <a:ext cx="1070521" cy="448048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5514" rIns="0" bIns="0" rtlCol="0" anchor="ctr">
            <a:spAutoFit/>
          </a:bodyPr>
          <a:lstStyle/>
          <a:p>
            <a:pPr marL="75921" algn="ctr" defTabSz="896112">
              <a:spcBef>
                <a:spcPts val="191"/>
              </a:spcBef>
            </a:pPr>
            <a:r>
              <a:rPr sz="2744" spc="-5" dirty="0">
                <a:solidFill>
                  <a:prstClr val="white"/>
                </a:solidFill>
                <a:cs typeface="Segoe UI Light"/>
              </a:rPr>
              <a:t>Weak</a:t>
            </a:r>
          </a:p>
        </p:txBody>
      </p:sp>
      <p:sp>
        <p:nvSpPr>
          <p:cNvPr id="26" name="object 26"/>
          <p:cNvSpPr txBox="1"/>
          <p:nvPr/>
        </p:nvSpPr>
        <p:spPr>
          <a:xfrm>
            <a:off x="10718187" y="4301020"/>
            <a:ext cx="1252862" cy="447421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4893" rIns="0" bIns="0" rtlCol="0" anchor="ctr">
            <a:spAutoFit/>
          </a:bodyPr>
          <a:lstStyle/>
          <a:p>
            <a:pPr marL="75921" algn="ctr" defTabSz="896112">
              <a:spcBef>
                <a:spcPts val="191"/>
              </a:spcBef>
            </a:pPr>
            <a:r>
              <a:rPr sz="2744" spc="-5" dirty="0">
                <a:solidFill>
                  <a:prstClr val="white"/>
                </a:solidFill>
                <a:cs typeface="Segoe UI Light"/>
              </a:rPr>
              <a:t>Strong</a:t>
            </a:r>
          </a:p>
        </p:txBody>
      </p:sp>
      <p:sp>
        <p:nvSpPr>
          <p:cNvPr id="27" name="object 27"/>
          <p:cNvSpPr/>
          <p:nvPr/>
        </p:nvSpPr>
        <p:spPr>
          <a:xfrm>
            <a:off x="9190822" y="3775744"/>
            <a:ext cx="1046747" cy="532086"/>
          </a:xfrm>
          <a:custGeom>
            <a:avLst/>
            <a:gdLst/>
            <a:ahLst/>
            <a:cxnLst/>
            <a:rect l="l" t="t" r="r" b="b"/>
            <a:pathLst>
              <a:path w="1068070" h="542925">
                <a:moveTo>
                  <a:pt x="67055" y="441706"/>
                </a:moveTo>
                <a:lnTo>
                  <a:pt x="60959" y="442975"/>
                </a:lnTo>
                <a:lnTo>
                  <a:pt x="57911" y="447420"/>
                </a:lnTo>
                <a:lnTo>
                  <a:pt x="0" y="535305"/>
                </a:lnTo>
                <a:lnTo>
                  <a:pt x="110362" y="542925"/>
                </a:lnTo>
                <a:lnTo>
                  <a:pt x="115061" y="538734"/>
                </a:lnTo>
                <a:lnTo>
                  <a:pt x="115292" y="535432"/>
                </a:lnTo>
                <a:lnTo>
                  <a:pt x="21971" y="535432"/>
                </a:lnTo>
                <a:lnTo>
                  <a:pt x="13207" y="517651"/>
                </a:lnTo>
                <a:lnTo>
                  <a:pt x="46069" y="501390"/>
                </a:lnTo>
                <a:lnTo>
                  <a:pt x="74422" y="458343"/>
                </a:lnTo>
                <a:lnTo>
                  <a:pt x="77470" y="453770"/>
                </a:lnTo>
                <a:lnTo>
                  <a:pt x="76200" y="447675"/>
                </a:lnTo>
                <a:lnTo>
                  <a:pt x="71627" y="444626"/>
                </a:lnTo>
                <a:lnTo>
                  <a:pt x="67055" y="441706"/>
                </a:lnTo>
                <a:close/>
              </a:path>
              <a:path w="1068070" h="542925">
                <a:moveTo>
                  <a:pt x="46069" y="501390"/>
                </a:moveTo>
                <a:lnTo>
                  <a:pt x="13207" y="517651"/>
                </a:lnTo>
                <a:lnTo>
                  <a:pt x="21971" y="535432"/>
                </a:lnTo>
                <a:lnTo>
                  <a:pt x="28900" y="532003"/>
                </a:lnTo>
                <a:lnTo>
                  <a:pt x="25907" y="532003"/>
                </a:lnTo>
                <a:lnTo>
                  <a:pt x="18287" y="516636"/>
                </a:lnTo>
                <a:lnTo>
                  <a:pt x="36029" y="516636"/>
                </a:lnTo>
                <a:lnTo>
                  <a:pt x="46069" y="501390"/>
                </a:lnTo>
                <a:close/>
              </a:path>
              <a:path w="1068070" h="542925">
                <a:moveTo>
                  <a:pt x="54836" y="519168"/>
                </a:moveTo>
                <a:lnTo>
                  <a:pt x="21971" y="535432"/>
                </a:lnTo>
                <a:lnTo>
                  <a:pt x="115292" y="535432"/>
                </a:lnTo>
                <a:lnTo>
                  <a:pt x="115824" y="527812"/>
                </a:lnTo>
                <a:lnTo>
                  <a:pt x="111759" y="523113"/>
                </a:lnTo>
                <a:lnTo>
                  <a:pt x="54836" y="519168"/>
                </a:lnTo>
                <a:close/>
              </a:path>
              <a:path w="1068070" h="542925">
                <a:moveTo>
                  <a:pt x="18287" y="516636"/>
                </a:moveTo>
                <a:lnTo>
                  <a:pt x="25907" y="532003"/>
                </a:lnTo>
                <a:lnTo>
                  <a:pt x="35254" y="517811"/>
                </a:lnTo>
                <a:lnTo>
                  <a:pt x="18287" y="516636"/>
                </a:lnTo>
                <a:close/>
              </a:path>
              <a:path w="1068070" h="542925">
                <a:moveTo>
                  <a:pt x="35254" y="517811"/>
                </a:moveTo>
                <a:lnTo>
                  <a:pt x="25907" y="532003"/>
                </a:lnTo>
                <a:lnTo>
                  <a:pt x="28900" y="532003"/>
                </a:lnTo>
                <a:lnTo>
                  <a:pt x="54836" y="519168"/>
                </a:lnTo>
                <a:lnTo>
                  <a:pt x="35254" y="517811"/>
                </a:lnTo>
                <a:close/>
              </a:path>
              <a:path w="1068070" h="542925">
                <a:moveTo>
                  <a:pt x="1059306" y="0"/>
                </a:moveTo>
                <a:lnTo>
                  <a:pt x="46069" y="501390"/>
                </a:lnTo>
                <a:lnTo>
                  <a:pt x="35254" y="517811"/>
                </a:lnTo>
                <a:lnTo>
                  <a:pt x="54836" y="519168"/>
                </a:lnTo>
                <a:lnTo>
                  <a:pt x="1068070" y="17779"/>
                </a:lnTo>
                <a:lnTo>
                  <a:pt x="1059306" y="0"/>
                </a:lnTo>
                <a:close/>
              </a:path>
              <a:path w="1068070" h="542925">
                <a:moveTo>
                  <a:pt x="36029" y="516636"/>
                </a:moveTo>
                <a:lnTo>
                  <a:pt x="18287" y="516636"/>
                </a:lnTo>
                <a:lnTo>
                  <a:pt x="35254" y="517811"/>
                </a:lnTo>
                <a:lnTo>
                  <a:pt x="36029" y="516636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0228858" y="3775869"/>
            <a:ext cx="909835" cy="486033"/>
          </a:xfrm>
          <a:custGeom>
            <a:avLst/>
            <a:gdLst/>
            <a:ahLst/>
            <a:cxnLst/>
            <a:rect l="l" t="t" r="r" b="b"/>
            <a:pathLst>
              <a:path w="928370" h="495935">
                <a:moveTo>
                  <a:pt x="873692" y="473291"/>
                </a:moveTo>
                <a:lnTo>
                  <a:pt x="816737" y="475996"/>
                </a:lnTo>
                <a:lnTo>
                  <a:pt x="812546" y="480568"/>
                </a:lnTo>
                <a:lnTo>
                  <a:pt x="813053" y="491490"/>
                </a:lnTo>
                <a:lnTo>
                  <a:pt x="817626" y="495808"/>
                </a:lnTo>
                <a:lnTo>
                  <a:pt x="928243" y="490601"/>
                </a:lnTo>
                <a:lnTo>
                  <a:pt x="928002" y="490220"/>
                </a:lnTo>
                <a:lnTo>
                  <a:pt x="906145" y="490220"/>
                </a:lnTo>
                <a:lnTo>
                  <a:pt x="873692" y="473291"/>
                </a:lnTo>
                <a:close/>
              </a:path>
              <a:path w="928370" h="495935">
                <a:moveTo>
                  <a:pt x="893318" y="472359"/>
                </a:moveTo>
                <a:lnTo>
                  <a:pt x="873692" y="473291"/>
                </a:lnTo>
                <a:lnTo>
                  <a:pt x="906145" y="490220"/>
                </a:lnTo>
                <a:lnTo>
                  <a:pt x="908026" y="486664"/>
                </a:lnTo>
                <a:lnTo>
                  <a:pt x="902335" y="486664"/>
                </a:lnTo>
                <a:lnTo>
                  <a:pt x="893318" y="472359"/>
                </a:lnTo>
                <a:close/>
              </a:path>
              <a:path w="928370" h="495935">
                <a:moveTo>
                  <a:pt x="863092" y="395477"/>
                </a:moveTo>
                <a:lnTo>
                  <a:pt x="858520" y="398399"/>
                </a:lnTo>
                <a:lnTo>
                  <a:pt x="853821" y="401320"/>
                </a:lnTo>
                <a:lnTo>
                  <a:pt x="852424" y="407416"/>
                </a:lnTo>
                <a:lnTo>
                  <a:pt x="855345" y="412115"/>
                </a:lnTo>
                <a:lnTo>
                  <a:pt x="882809" y="455687"/>
                </a:lnTo>
                <a:lnTo>
                  <a:pt x="915416" y="472694"/>
                </a:lnTo>
                <a:lnTo>
                  <a:pt x="906145" y="490220"/>
                </a:lnTo>
                <a:lnTo>
                  <a:pt x="928002" y="490220"/>
                </a:lnTo>
                <a:lnTo>
                  <a:pt x="872109" y="401574"/>
                </a:lnTo>
                <a:lnTo>
                  <a:pt x="869188" y="396875"/>
                </a:lnTo>
                <a:lnTo>
                  <a:pt x="863092" y="395477"/>
                </a:lnTo>
                <a:close/>
              </a:path>
              <a:path w="928370" h="495935">
                <a:moveTo>
                  <a:pt x="910336" y="471551"/>
                </a:moveTo>
                <a:lnTo>
                  <a:pt x="893318" y="472359"/>
                </a:lnTo>
                <a:lnTo>
                  <a:pt x="902335" y="486664"/>
                </a:lnTo>
                <a:lnTo>
                  <a:pt x="910336" y="471551"/>
                </a:lnTo>
                <a:close/>
              </a:path>
              <a:path w="928370" h="495935">
                <a:moveTo>
                  <a:pt x="913224" y="471551"/>
                </a:moveTo>
                <a:lnTo>
                  <a:pt x="910336" y="471551"/>
                </a:lnTo>
                <a:lnTo>
                  <a:pt x="902335" y="486664"/>
                </a:lnTo>
                <a:lnTo>
                  <a:pt x="908026" y="486664"/>
                </a:lnTo>
                <a:lnTo>
                  <a:pt x="915416" y="472694"/>
                </a:lnTo>
                <a:lnTo>
                  <a:pt x="913224" y="471551"/>
                </a:lnTo>
                <a:close/>
              </a:path>
              <a:path w="928370" h="495935">
                <a:moveTo>
                  <a:pt x="9144" y="0"/>
                </a:moveTo>
                <a:lnTo>
                  <a:pt x="0" y="17525"/>
                </a:lnTo>
                <a:lnTo>
                  <a:pt x="873692" y="473291"/>
                </a:lnTo>
                <a:lnTo>
                  <a:pt x="893318" y="472359"/>
                </a:lnTo>
                <a:lnTo>
                  <a:pt x="882809" y="455687"/>
                </a:lnTo>
                <a:lnTo>
                  <a:pt x="9144" y="0"/>
                </a:lnTo>
                <a:close/>
              </a:path>
              <a:path w="928370" h="495935">
                <a:moveTo>
                  <a:pt x="882809" y="455687"/>
                </a:moveTo>
                <a:lnTo>
                  <a:pt x="893318" y="472359"/>
                </a:lnTo>
                <a:lnTo>
                  <a:pt x="910336" y="471551"/>
                </a:lnTo>
                <a:lnTo>
                  <a:pt x="913224" y="471551"/>
                </a:lnTo>
                <a:lnTo>
                  <a:pt x="882809" y="45568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0179694" y="2831431"/>
            <a:ext cx="109529" cy="401398"/>
          </a:xfrm>
          <a:custGeom>
            <a:avLst/>
            <a:gdLst/>
            <a:ahLst/>
            <a:cxnLst/>
            <a:rect l="l" t="t" r="r" b="b"/>
            <a:pathLst>
              <a:path w="111759" h="409575">
                <a:moveTo>
                  <a:pt x="11175" y="301751"/>
                </a:moveTo>
                <a:lnTo>
                  <a:pt x="6476" y="304419"/>
                </a:lnTo>
                <a:lnTo>
                  <a:pt x="1650" y="307213"/>
                </a:lnTo>
                <a:lnTo>
                  <a:pt x="0" y="313182"/>
                </a:lnTo>
                <a:lnTo>
                  <a:pt x="2793" y="318008"/>
                </a:lnTo>
                <a:lnTo>
                  <a:pt x="54736" y="409448"/>
                </a:lnTo>
                <a:lnTo>
                  <a:pt x="66424" y="389889"/>
                </a:lnTo>
                <a:lnTo>
                  <a:pt x="64896" y="389889"/>
                </a:lnTo>
                <a:lnTo>
                  <a:pt x="45084" y="389636"/>
                </a:lnTo>
                <a:lnTo>
                  <a:pt x="45479" y="352998"/>
                </a:lnTo>
                <a:lnTo>
                  <a:pt x="19938" y="308228"/>
                </a:lnTo>
                <a:lnTo>
                  <a:pt x="17271" y="303402"/>
                </a:lnTo>
                <a:lnTo>
                  <a:pt x="11175" y="301751"/>
                </a:lnTo>
                <a:close/>
              </a:path>
              <a:path w="111759" h="409575">
                <a:moveTo>
                  <a:pt x="45479" y="352998"/>
                </a:moveTo>
                <a:lnTo>
                  <a:pt x="45084" y="389636"/>
                </a:lnTo>
                <a:lnTo>
                  <a:pt x="64896" y="389889"/>
                </a:lnTo>
                <a:lnTo>
                  <a:pt x="64951" y="384810"/>
                </a:lnTo>
                <a:lnTo>
                  <a:pt x="46481" y="384683"/>
                </a:lnTo>
                <a:lnTo>
                  <a:pt x="55213" y="370061"/>
                </a:lnTo>
                <a:lnTo>
                  <a:pt x="45479" y="352998"/>
                </a:lnTo>
                <a:close/>
              </a:path>
              <a:path w="111759" h="409575">
                <a:moveTo>
                  <a:pt x="100583" y="302768"/>
                </a:moveTo>
                <a:lnTo>
                  <a:pt x="94487" y="304291"/>
                </a:lnTo>
                <a:lnTo>
                  <a:pt x="65291" y="353184"/>
                </a:lnTo>
                <a:lnTo>
                  <a:pt x="64896" y="389889"/>
                </a:lnTo>
                <a:lnTo>
                  <a:pt x="66424" y="389889"/>
                </a:lnTo>
                <a:lnTo>
                  <a:pt x="111505" y="314451"/>
                </a:lnTo>
                <a:lnTo>
                  <a:pt x="109981" y="308356"/>
                </a:lnTo>
                <a:lnTo>
                  <a:pt x="100583" y="302768"/>
                </a:lnTo>
                <a:close/>
              </a:path>
              <a:path w="111759" h="409575">
                <a:moveTo>
                  <a:pt x="55213" y="370061"/>
                </a:moveTo>
                <a:lnTo>
                  <a:pt x="46481" y="384683"/>
                </a:lnTo>
                <a:lnTo>
                  <a:pt x="63626" y="384810"/>
                </a:lnTo>
                <a:lnTo>
                  <a:pt x="55213" y="370061"/>
                </a:lnTo>
                <a:close/>
              </a:path>
              <a:path w="111759" h="409575">
                <a:moveTo>
                  <a:pt x="65291" y="353184"/>
                </a:moveTo>
                <a:lnTo>
                  <a:pt x="55213" y="370061"/>
                </a:lnTo>
                <a:lnTo>
                  <a:pt x="63626" y="384810"/>
                </a:lnTo>
                <a:lnTo>
                  <a:pt x="64951" y="384810"/>
                </a:lnTo>
                <a:lnTo>
                  <a:pt x="65291" y="353184"/>
                </a:lnTo>
                <a:close/>
              </a:path>
              <a:path w="111759" h="409575">
                <a:moveTo>
                  <a:pt x="49275" y="0"/>
                </a:moveTo>
                <a:lnTo>
                  <a:pt x="45479" y="352998"/>
                </a:lnTo>
                <a:lnTo>
                  <a:pt x="55213" y="370061"/>
                </a:lnTo>
                <a:lnTo>
                  <a:pt x="65291" y="353184"/>
                </a:lnTo>
                <a:lnTo>
                  <a:pt x="69087" y="253"/>
                </a:lnTo>
                <a:lnTo>
                  <a:pt x="49275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prstClr val="black"/>
              </a:solidFill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928698" y="5027622"/>
            <a:ext cx="500348" cy="311059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39206" rIns="0" bIns="0" rtlCol="0" anchor="ctr">
            <a:spAutoFit/>
          </a:bodyPr>
          <a:lstStyle/>
          <a:p>
            <a:pPr marL="89611" algn="ctr" defTabSz="896112">
              <a:spcBef>
                <a:spcPts val="309"/>
              </a:spcBef>
            </a:pPr>
            <a:r>
              <a:rPr sz="1764" spc="-88" dirty="0">
                <a:solidFill>
                  <a:srgbClr val="FFFFFF"/>
                </a:solidFill>
                <a:cs typeface="Segoe UI Light"/>
              </a:rPr>
              <a:t>No</a:t>
            </a:r>
          </a:p>
        </p:txBody>
      </p:sp>
      <p:sp>
        <p:nvSpPr>
          <p:cNvPr id="31" name="object 31"/>
          <p:cNvSpPr txBox="1"/>
          <p:nvPr/>
        </p:nvSpPr>
        <p:spPr>
          <a:xfrm>
            <a:off x="11018584" y="4802374"/>
            <a:ext cx="500348" cy="310429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38584" rIns="0" bIns="0" rtlCol="0" anchor="ctr">
            <a:spAutoFit/>
          </a:bodyPr>
          <a:lstStyle/>
          <a:p>
            <a:pPr marL="90856" algn="ctr" defTabSz="896112">
              <a:spcBef>
                <a:spcPts val="304"/>
              </a:spcBef>
            </a:pPr>
            <a:r>
              <a:rPr sz="1764" spc="-88" dirty="0">
                <a:solidFill>
                  <a:srgbClr val="FFFFFF"/>
                </a:solidFill>
                <a:cs typeface="Segoe UI Light"/>
              </a:rPr>
              <a:t>No</a:t>
            </a:r>
          </a:p>
        </p:txBody>
      </p:sp>
      <p:sp>
        <p:nvSpPr>
          <p:cNvPr id="32" name="object 32"/>
          <p:cNvSpPr txBox="1"/>
          <p:nvPr/>
        </p:nvSpPr>
        <p:spPr>
          <a:xfrm>
            <a:off x="3111846" y="5004846"/>
            <a:ext cx="506571" cy="309801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37962" rIns="0" bIns="0" rtlCol="0" anchor="ctr">
            <a:spAutoFit/>
          </a:bodyPr>
          <a:lstStyle/>
          <a:p>
            <a:pPr marL="88989" algn="ctr" defTabSz="896112">
              <a:spcBef>
                <a:spcPts val="299"/>
              </a:spcBef>
            </a:pPr>
            <a:r>
              <a:rPr sz="1764" spc="-88" dirty="0">
                <a:solidFill>
                  <a:srgbClr val="FFFFFF"/>
                </a:solidFill>
                <a:cs typeface="Segoe UI Light"/>
              </a:rPr>
              <a:t>Yes</a:t>
            </a:r>
          </a:p>
        </p:txBody>
      </p:sp>
      <p:sp>
        <p:nvSpPr>
          <p:cNvPr id="33" name="object 33"/>
          <p:cNvSpPr txBox="1"/>
          <p:nvPr/>
        </p:nvSpPr>
        <p:spPr>
          <a:xfrm>
            <a:off x="9009664" y="4861547"/>
            <a:ext cx="507815" cy="310429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38584" rIns="0" bIns="0" rtlCol="0" anchor="ctr">
            <a:spAutoFit/>
          </a:bodyPr>
          <a:lstStyle/>
          <a:p>
            <a:pPr marL="90234" algn="ctr" defTabSz="896112">
              <a:spcBef>
                <a:spcPts val="304"/>
              </a:spcBef>
            </a:pPr>
            <a:r>
              <a:rPr sz="1764" spc="-88" dirty="0">
                <a:solidFill>
                  <a:srgbClr val="FFFFFF"/>
                </a:solidFill>
                <a:cs typeface="Segoe UI Light"/>
              </a:rPr>
              <a:t>Yes</a:t>
            </a:r>
          </a:p>
        </p:txBody>
      </p:sp>
      <p:sp>
        <p:nvSpPr>
          <p:cNvPr id="35" name="object 35"/>
          <p:cNvSpPr txBox="1"/>
          <p:nvPr/>
        </p:nvSpPr>
        <p:spPr>
          <a:xfrm>
            <a:off x="1609683" y="5509063"/>
            <a:ext cx="550960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dirty="0">
                <a:solidFill>
                  <a:srgbClr val="646464"/>
                </a:solidFill>
              </a:rPr>
              <a:t>A Logical formula which says if X will play</a:t>
            </a:r>
            <a:r>
              <a:rPr lang="en-US" dirty="0">
                <a:solidFill>
                  <a:srgbClr val="646464"/>
                </a:solidFill>
              </a:rPr>
              <a:t> </a:t>
            </a:r>
            <a:endParaRPr dirty="0">
              <a:solidFill>
                <a:srgbClr val="646464"/>
              </a:solidFill>
            </a:endParaRPr>
          </a:p>
        </p:txBody>
      </p:sp>
      <p:graphicFrame>
        <p:nvGraphicFramePr>
          <p:cNvPr id="36" name="object 36"/>
          <p:cNvGraphicFramePr>
            <a:graphicFrameLocks noGrp="1"/>
          </p:cNvGraphicFramePr>
          <p:nvPr>
            <p:extLst/>
          </p:nvPr>
        </p:nvGraphicFramePr>
        <p:xfrm>
          <a:off x="1656375" y="5977800"/>
          <a:ext cx="4462394" cy="2921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31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7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844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60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6269">
                <a:tc>
                  <a:txBody>
                    <a:bodyPr/>
                    <a:lstStyle/>
                    <a:p>
                      <a:pPr marL="127000">
                        <a:lnSpc>
                          <a:spcPts val="2280"/>
                        </a:lnSpc>
                      </a:pPr>
                      <a:r>
                        <a:rPr sz="2400" spc="-5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Calibri"/>
                          <a:cs typeface="Calibri"/>
                        </a:rPr>
                        <a:t>D15</a:t>
                      </a:r>
                      <a:endParaRPr sz="24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44780">
                        <a:lnSpc>
                          <a:spcPts val="2280"/>
                        </a:lnSpc>
                      </a:pPr>
                      <a:r>
                        <a:rPr sz="2400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Calibri"/>
                          <a:cs typeface="Calibri"/>
                        </a:rPr>
                        <a:t>Rain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21055">
                        <a:lnSpc>
                          <a:spcPts val="2280"/>
                        </a:lnSpc>
                      </a:pPr>
                      <a:r>
                        <a:rPr sz="2400" spc="-25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Calibri"/>
                          <a:cs typeface="Calibri"/>
                        </a:rPr>
                        <a:t>Weak</a:t>
                      </a:r>
                      <a:endParaRPr sz="24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ts val="2280"/>
                        </a:lnSpc>
                      </a:pPr>
                      <a:r>
                        <a:rPr sz="2400" spc="-10" dirty="0">
                          <a:solidFill>
                            <a:srgbClr val="00AF50"/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24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7" name="object 37"/>
          <p:cNvSpPr txBox="1"/>
          <p:nvPr/>
        </p:nvSpPr>
        <p:spPr>
          <a:xfrm>
            <a:off x="8566941" y="4042819"/>
            <a:ext cx="510926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dirty="0">
                <a:solidFill>
                  <a:srgbClr val="1F497D"/>
                </a:solidFill>
                <a:cs typeface="Segoe UI Light"/>
              </a:rPr>
              <a:t>3 / 0</a:t>
            </a:r>
          </a:p>
        </p:txBody>
      </p:sp>
      <p:sp>
        <p:nvSpPr>
          <p:cNvPr id="38" name="object 38"/>
          <p:cNvSpPr txBox="1"/>
          <p:nvPr/>
        </p:nvSpPr>
        <p:spPr>
          <a:xfrm>
            <a:off x="6016974" y="2582129"/>
            <a:ext cx="510926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spc="-29" dirty="0">
                <a:solidFill>
                  <a:srgbClr val="1F497D"/>
                </a:solidFill>
                <a:cs typeface="Segoe UI Light"/>
              </a:rPr>
              <a:t>4 </a:t>
            </a:r>
            <a:r>
              <a:rPr sz="1764" dirty="0">
                <a:solidFill>
                  <a:srgbClr val="1F497D"/>
                </a:solidFill>
                <a:cs typeface="Segoe UI Light"/>
              </a:rPr>
              <a:t>/</a:t>
            </a:r>
            <a:r>
              <a:rPr sz="1764" spc="-64" dirty="0">
                <a:solidFill>
                  <a:srgbClr val="1F497D"/>
                </a:solidFill>
                <a:cs typeface="Segoe UI Light"/>
              </a:rPr>
              <a:t> </a:t>
            </a:r>
            <a:r>
              <a:rPr sz="1764" dirty="0">
                <a:solidFill>
                  <a:srgbClr val="1F497D"/>
                </a:solidFill>
                <a:cs typeface="Segoe UI Light"/>
              </a:rPr>
              <a:t>0</a:t>
            </a:r>
          </a:p>
        </p:txBody>
      </p:sp>
      <p:sp>
        <p:nvSpPr>
          <p:cNvPr id="39" name="object 39"/>
          <p:cNvSpPr txBox="1"/>
          <p:nvPr/>
        </p:nvSpPr>
        <p:spPr>
          <a:xfrm>
            <a:off x="10752543" y="2397065"/>
            <a:ext cx="510926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dirty="0">
                <a:solidFill>
                  <a:srgbClr val="1F497D"/>
                </a:solidFill>
                <a:cs typeface="Segoe UI Light"/>
              </a:rPr>
              <a:t>3 / 2</a:t>
            </a:r>
          </a:p>
        </p:txBody>
      </p:sp>
      <p:sp>
        <p:nvSpPr>
          <p:cNvPr id="40" name="object 40"/>
          <p:cNvSpPr txBox="1"/>
          <p:nvPr/>
        </p:nvSpPr>
        <p:spPr>
          <a:xfrm>
            <a:off x="3050309" y="2537382"/>
            <a:ext cx="510926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dirty="0">
                <a:solidFill>
                  <a:srgbClr val="1F497D"/>
                </a:solidFill>
                <a:cs typeface="Segoe UI Light"/>
              </a:rPr>
              <a:t>2 / 3</a:t>
            </a:r>
          </a:p>
        </p:txBody>
      </p:sp>
      <p:sp>
        <p:nvSpPr>
          <p:cNvPr id="41" name="object 41"/>
          <p:cNvSpPr txBox="1"/>
          <p:nvPr/>
        </p:nvSpPr>
        <p:spPr>
          <a:xfrm>
            <a:off x="3236870" y="4128171"/>
            <a:ext cx="510926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dirty="0">
                <a:solidFill>
                  <a:srgbClr val="1F497D"/>
                </a:solidFill>
                <a:cs typeface="Segoe UI Light"/>
              </a:rPr>
              <a:t>2 / 0</a:t>
            </a:r>
          </a:p>
        </p:txBody>
      </p:sp>
      <p:sp>
        <p:nvSpPr>
          <p:cNvPr id="42" name="object 42"/>
          <p:cNvSpPr txBox="1"/>
          <p:nvPr/>
        </p:nvSpPr>
        <p:spPr>
          <a:xfrm>
            <a:off x="553719" y="4130569"/>
            <a:ext cx="510926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dirty="0">
                <a:solidFill>
                  <a:srgbClr val="1F497D"/>
                </a:solidFill>
                <a:cs typeface="Segoe UI Light"/>
              </a:rPr>
              <a:t>0 / 3</a:t>
            </a:r>
          </a:p>
        </p:txBody>
      </p:sp>
      <p:sp>
        <p:nvSpPr>
          <p:cNvPr id="43" name="object 43"/>
          <p:cNvSpPr txBox="1"/>
          <p:nvPr/>
        </p:nvSpPr>
        <p:spPr>
          <a:xfrm>
            <a:off x="11263469" y="3975619"/>
            <a:ext cx="510926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dirty="0">
                <a:solidFill>
                  <a:srgbClr val="1F497D"/>
                </a:solidFill>
                <a:cs typeface="Segoe UI Light"/>
              </a:rPr>
              <a:t>0 / 2</a:t>
            </a:r>
          </a:p>
        </p:txBody>
      </p:sp>
      <p:sp>
        <p:nvSpPr>
          <p:cNvPr id="44" name="object 44"/>
          <p:cNvSpPr txBox="1"/>
          <p:nvPr/>
        </p:nvSpPr>
        <p:spPr>
          <a:xfrm>
            <a:off x="6666805" y="1581060"/>
            <a:ext cx="510926" cy="271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764" dirty="0">
                <a:solidFill>
                  <a:srgbClr val="1F497D"/>
                </a:solidFill>
                <a:cs typeface="Segoe UI Light"/>
              </a:rPr>
              <a:t>9 /</a:t>
            </a:r>
            <a:r>
              <a:rPr sz="1764" spc="-88" dirty="0">
                <a:solidFill>
                  <a:srgbClr val="1F497D"/>
                </a:solidFill>
                <a:cs typeface="Segoe UI Light"/>
              </a:rPr>
              <a:t> </a:t>
            </a:r>
            <a:r>
              <a:rPr sz="1764" dirty="0">
                <a:solidFill>
                  <a:srgbClr val="1F497D"/>
                </a:solidFill>
                <a:cs typeface="Segoe UI Light"/>
              </a:rPr>
              <a:t>5</a:t>
            </a:r>
          </a:p>
        </p:txBody>
      </p:sp>
      <p:sp>
        <p:nvSpPr>
          <p:cNvPr id="45" name="object 45"/>
          <p:cNvSpPr txBox="1"/>
          <p:nvPr/>
        </p:nvSpPr>
        <p:spPr>
          <a:xfrm>
            <a:off x="8632663" y="5280415"/>
            <a:ext cx="3378964" cy="7239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2352" spc="-5" dirty="0">
                <a:solidFill>
                  <a:srgbClr val="FF0000"/>
                </a:solidFill>
                <a:cs typeface="Segoe UI Light"/>
              </a:rPr>
              <a:t>Which attribute </a:t>
            </a:r>
            <a:r>
              <a:rPr sz="2352" dirty="0">
                <a:solidFill>
                  <a:srgbClr val="FF0000"/>
                </a:solidFill>
                <a:cs typeface="Segoe UI Light"/>
              </a:rPr>
              <a:t>to </a:t>
            </a:r>
            <a:r>
              <a:rPr sz="2352" spc="-5" dirty="0">
                <a:solidFill>
                  <a:srgbClr val="FF0000"/>
                </a:solidFill>
                <a:cs typeface="Segoe UI Light"/>
              </a:rPr>
              <a:t>split</a:t>
            </a:r>
            <a:r>
              <a:rPr sz="2352" dirty="0">
                <a:solidFill>
                  <a:srgbClr val="FF0000"/>
                </a:solidFill>
                <a:cs typeface="Segoe UI Light"/>
              </a:rPr>
              <a:t> on?</a:t>
            </a:r>
            <a:endParaRPr sz="2352" dirty="0">
              <a:solidFill>
                <a:prstClr val="black"/>
              </a:solidFill>
              <a:cs typeface="Segoe UI Light"/>
            </a:endParaRPr>
          </a:p>
        </p:txBody>
      </p:sp>
      <p:sp>
        <p:nvSpPr>
          <p:cNvPr id="48" name="Title 5"/>
          <p:cNvSpPr txBox="1">
            <a:spLocks/>
          </p:cNvSpPr>
          <p:nvPr/>
        </p:nvSpPr>
        <p:spPr bwMode="auto">
          <a:xfrm>
            <a:off x="930514" y="370874"/>
            <a:ext cx="10843881" cy="914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30000"/>
              </a:spcAft>
              <a:defRPr sz="1683">
                <a:solidFill>
                  <a:srgbClr val="F86B1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5pPr>
            <a:lvl6pPr marL="349682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6pPr>
            <a:lvl7pPr marL="699363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7pPr>
            <a:lvl8pPr marL="1049046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8pPr>
            <a:lvl9pPr marL="1398727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896112"/>
            <a:r>
              <a:rPr lang="en-US" sz="3600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ample (4/4)</a:t>
            </a:r>
          </a:p>
        </p:txBody>
      </p:sp>
    </p:spTree>
    <p:extLst>
      <p:ext uri="{BB962C8B-B14F-4D97-AF65-F5344CB8AC3E}">
        <p14:creationId xmlns:p14="http://schemas.microsoft.com/office/powerpoint/2010/main" val="317148955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063347" y="1545545"/>
            <a:ext cx="1582508" cy="449306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6760" rIns="0" bIns="0" rtlCol="0" anchor="ctr">
            <a:spAutoFit/>
          </a:bodyPr>
          <a:lstStyle/>
          <a:p>
            <a:pPr marL="75298" algn="ctr" defTabSz="896112">
              <a:spcBef>
                <a:spcPts val="211"/>
              </a:spcBef>
            </a:pPr>
            <a:r>
              <a:rPr lang="en-US" sz="2744" spc="-10" dirty="0">
                <a:solidFill>
                  <a:srgbClr val="FFFFFF"/>
                </a:solidFill>
                <a:cs typeface="Segoe UI Light"/>
              </a:rPr>
              <a:t>  </a:t>
            </a:r>
            <a:r>
              <a:rPr sz="2744" spc="-10" dirty="0">
                <a:solidFill>
                  <a:srgbClr val="FFFFFF"/>
                </a:solidFill>
                <a:cs typeface="Segoe UI Light"/>
              </a:rPr>
              <a:t>Outlook</a:t>
            </a:r>
            <a:endParaRPr sz="274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87653" y="3293034"/>
            <a:ext cx="1170655" cy="449306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6760" rIns="0" bIns="0" rtlCol="0" anchor="ctr">
            <a:spAutoFit/>
          </a:bodyPr>
          <a:lstStyle/>
          <a:p>
            <a:pPr marL="75298" algn="ctr" defTabSz="896112">
              <a:spcBef>
                <a:spcPts val="211"/>
              </a:spcBef>
            </a:pPr>
            <a:r>
              <a:rPr lang="en-US" sz="2744" spc="-10" dirty="0">
                <a:solidFill>
                  <a:srgbClr val="FFFFFF"/>
                </a:solidFill>
                <a:cs typeface="Segoe UI Light"/>
              </a:rPr>
              <a:t> </a:t>
            </a:r>
            <a:r>
              <a:rPr sz="2744" spc="-10" dirty="0">
                <a:solidFill>
                  <a:srgbClr val="FFFFFF"/>
                </a:solidFill>
                <a:cs typeface="Segoe UI Light"/>
              </a:rPr>
              <a:t>Sunny</a:t>
            </a:r>
            <a:endParaRPr sz="274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993825" y="3263222"/>
            <a:ext cx="1035134" cy="449306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6760" rIns="0" bIns="0" rtlCol="0" anchor="ctr">
            <a:spAutoFit/>
          </a:bodyPr>
          <a:lstStyle/>
          <a:p>
            <a:pPr marL="76543" algn="ctr" defTabSz="896112">
              <a:spcBef>
                <a:spcPts val="211"/>
              </a:spcBef>
            </a:pPr>
            <a:r>
              <a:rPr sz="2744" spc="-10" dirty="0">
                <a:solidFill>
                  <a:srgbClr val="FFFFFF"/>
                </a:solidFill>
                <a:cs typeface="Segoe UI Light"/>
              </a:rPr>
              <a:t>Rain</a:t>
            </a:r>
            <a:endParaRPr sz="274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796725" y="2020465"/>
            <a:ext cx="115752" cy="1265183"/>
          </a:xfrm>
          <a:custGeom>
            <a:avLst/>
            <a:gdLst/>
            <a:ahLst/>
            <a:cxnLst/>
            <a:rect l="l" t="t" r="r" b="b"/>
            <a:pathLst>
              <a:path w="118110" h="1290955">
                <a:moveTo>
                  <a:pt x="16637" y="1185290"/>
                </a:moveTo>
                <a:lnTo>
                  <a:pt x="12064" y="1188339"/>
                </a:lnTo>
                <a:lnTo>
                  <a:pt x="7493" y="1191260"/>
                </a:lnTo>
                <a:lnTo>
                  <a:pt x="6095" y="1197355"/>
                </a:lnTo>
                <a:lnTo>
                  <a:pt x="9143" y="1202054"/>
                </a:lnTo>
                <a:lnTo>
                  <a:pt x="66039" y="1290447"/>
                </a:lnTo>
                <a:lnTo>
                  <a:pt x="76112" y="1271270"/>
                </a:lnTo>
                <a:lnTo>
                  <a:pt x="55244" y="1271270"/>
                </a:lnTo>
                <a:lnTo>
                  <a:pt x="53653" y="1234666"/>
                </a:lnTo>
                <a:lnTo>
                  <a:pt x="25781" y="1191260"/>
                </a:lnTo>
                <a:lnTo>
                  <a:pt x="22732" y="1186688"/>
                </a:lnTo>
                <a:lnTo>
                  <a:pt x="16637" y="1185290"/>
                </a:lnTo>
                <a:close/>
              </a:path>
              <a:path w="118110" h="1290955">
                <a:moveTo>
                  <a:pt x="53653" y="1234666"/>
                </a:moveTo>
                <a:lnTo>
                  <a:pt x="55244" y="1271270"/>
                </a:lnTo>
                <a:lnTo>
                  <a:pt x="75056" y="1270380"/>
                </a:lnTo>
                <a:lnTo>
                  <a:pt x="74874" y="1266189"/>
                </a:lnTo>
                <a:lnTo>
                  <a:pt x="56387" y="1266189"/>
                </a:lnTo>
                <a:lnTo>
                  <a:pt x="64271" y="1251203"/>
                </a:lnTo>
                <a:lnTo>
                  <a:pt x="53653" y="1234666"/>
                </a:lnTo>
                <a:close/>
              </a:path>
              <a:path w="118110" h="1290955">
                <a:moveTo>
                  <a:pt x="106044" y="1181480"/>
                </a:moveTo>
                <a:lnTo>
                  <a:pt x="100075" y="1183386"/>
                </a:lnTo>
                <a:lnTo>
                  <a:pt x="97342" y="1188339"/>
                </a:lnTo>
                <a:lnTo>
                  <a:pt x="73463" y="1233731"/>
                </a:lnTo>
                <a:lnTo>
                  <a:pt x="75056" y="1270380"/>
                </a:lnTo>
                <a:lnTo>
                  <a:pt x="55244" y="1271270"/>
                </a:lnTo>
                <a:lnTo>
                  <a:pt x="76112" y="1271270"/>
                </a:lnTo>
                <a:lnTo>
                  <a:pt x="114934" y="1197355"/>
                </a:lnTo>
                <a:lnTo>
                  <a:pt x="117601" y="1192529"/>
                </a:lnTo>
                <a:lnTo>
                  <a:pt x="115696" y="1186561"/>
                </a:lnTo>
                <a:lnTo>
                  <a:pt x="106044" y="1181480"/>
                </a:lnTo>
                <a:close/>
              </a:path>
              <a:path w="118110" h="1290955">
                <a:moveTo>
                  <a:pt x="64271" y="1251203"/>
                </a:moveTo>
                <a:lnTo>
                  <a:pt x="56387" y="1266189"/>
                </a:lnTo>
                <a:lnTo>
                  <a:pt x="73406" y="1265427"/>
                </a:lnTo>
                <a:lnTo>
                  <a:pt x="64271" y="1251203"/>
                </a:lnTo>
                <a:close/>
              </a:path>
              <a:path w="118110" h="1290955">
                <a:moveTo>
                  <a:pt x="73463" y="1233731"/>
                </a:moveTo>
                <a:lnTo>
                  <a:pt x="64271" y="1251203"/>
                </a:lnTo>
                <a:lnTo>
                  <a:pt x="73406" y="1265427"/>
                </a:lnTo>
                <a:lnTo>
                  <a:pt x="56387" y="1266189"/>
                </a:lnTo>
                <a:lnTo>
                  <a:pt x="74874" y="1266189"/>
                </a:lnTo>
                <a:lnTo>
                  <a:pt x="73463" y="1233731"/>
                </a:lnTo>
                <a:close/>
              </a:path>
              <a:path w="118110" h="1290955">
                <a:moveTo>
                  <a:pt x="19812" y="0"/>
                </a:moveTo>
                <a:lnTo>
                  <a:pt x="0" y="762"/>
                </a:lnTo>
                <a:lnTo>
                  <a:pt x="53653" y="1234666"/>
                </a:lnTo>
                <a:lnTo>
                  <a:pt x="64271" y="1251203"/>
                </a:lnTo>
                <a:lnTo>
                  <a:pt x="73463" y="1233731"/>
                </a:lnTo>
                <a:lnTo>
                  <a:pt x="1981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0000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1466658" y="2004999"/>
            <a:ext cx="1346085" cy="1328660"/>
          </a:xfrm>
          <a:custGeom>
            <a:avLst/>
            <a:gdLst/>
            <a:ahLst/>
            <a:cxnLst/>
            <a:rect l="l" t="t" r="r" b="b"/>
            <a:pathLst>
              <a:path w="1373505" h="1355725">
                <a:moveTo>
                  <a:pt x="34315" y="1245616"/>
                </a:moveTo>
                <a:lnTo>
                  <a:pt x="28867" y="1248664"/>
                </a:lnTo>
                <a:lnTo>
                  <a:pt x="27444" y="1253998"/>
                </a:lnTo>
                <a:lnTo>
                  <a:pt x="0" y="1355471"/>
                </a:lnTo>
                <a:lnTo>
                  <a:pt x="26349" y="1348740"/>
                </a:lnTo>
                <a:lnTo>
                  <a:pt x="20942" y="1348740"/>
                </a:lnTo>
                <a:lnTo>
                  <a:pt x="7023" y="1334643"/>
                </a:lnTo>
                <a:lnTo>
                  <a:pt x="33120" y="1308886"/>
                </a:lnTo>
                <a:lnTo>
                  <a:pt x="46570" y="1259078"/>
                </a:lnTo>
                <a:lnTo>
                  <a:pt x="47993" y="1253871"/>
                </a:lnTo>
                <a:lnTo>
                  <a:pt x="44869" y="1248410"/>
                </a:lnTo>
                <a:lnTo>
                  <a:pt x="34315" y="1245616"/>
                </a:lnTo>
                <a:close/>
              </a:path>
              <a:path w="1373505" h="1355725">
                <a:moveTo>
                  <a:pt x="33120" y="1308886"/>
                </a:moveTo>
                <a:lnTo>
                  <a:pt x="7023" y="1334643"/>
                </a:lnTo>
                <a:lnTo>
                  <a:pt x="20942" y="1348740"/>
                </a:lnTo>
                <a:lnTo>
                  <a:pt x="25446" y="1344295"/>
                </a:lnTo>
                <a:lnTo>
                  <a:pt x="23558" y="1344295"/>
                </a:lnTo>
                <a:lnTo>
                  <a:pt x="11544" y="1332103"/>
                </a:lnTo>
                <a:lnTo>
                  <a:pt x="27985" y="1327900"/>
                </a:lnTo>
                <a:lnTo>
                  <a:pt x="33120" y="1308886"/>
                </a:lnTo>
                <a:close/>
              </a:path>
              <a:path w="1373505" h="1355725">
                <a:moveTo>
                  <a:pt x="102298" y="1308862"/>
                </a:moveTo>
                <a:lnTo>
                  <a:pt x="46977" y="1323046"/>
                </a:lnTo>
                <a:lnTo>
                  <a:pt x="20942" y="1348740"/>
                </a:lnTo>
                <a:lnTo>
                  <a:pt x="26349" y="1348740"/>
                </a:lnTo>
                <a:lnTo>
                  <a:pt x="107213" y="1328039"/>
                </a:lnTo>
                <a:lnTo>
                  <a:pt x="110413" y="1322705"/>
                </a:lnTo>
                <a:lnTo>
                  <a:pt x="107696" y="1312037"/>
                </a:lnTo>
                <a:lnTo>
                  <a:pt x="102298" y="1308862"/>
                </a:lnTo>
                <a:close/>
              </a:path>
              <a:path w="1373505" h="1355725">
                <a:moveTo>
                  <a:pt x="27985" y="1327900"/>
                </a:moveTo>
                <a:lnTo>
                  <a:pt x="11544" y="1332103"/>
                </a:lnTo>
                <a:lnTo>
                  <a:pt x="23558" y="1344295"/>
                </a:lnTo>
                <a:lnTo>
                  <a:pt x="27985" y="1327900"/>
                </a:lnTo>
                <a:close/>
              </a:path>
              <a:path w="1373505" h="1355725">
                <a:moveTo>
                  <a:pt x="46977" y="1323046"/>
                </a:moveTo>
                <a:lnTo>
                  <a:pt x="27985" y="1327900"/>
                </a:lnTo>
                <a:lnTo>
                  <a:pt x="23558" y="1344295"/>
                </a:lnTo>
                <a:lnTo>
                  <a:pt x="25446" y="1344295"/>
                </a:lnTo>
                <a:lnTo>
                  <a:pt x="46977" y="1323046"/>
                </a:lnTo>
                <a:close/>
              </a:path>
              <a:path w="1373505" h="1355725">
                <a:moveTo>
                  <a:pt x="1359319" y="0"/>
                </a:moveTo>
                <a:lnTo>
                  <a:pt x="33120" y="1308886"/>
                </a:lnTo>
                <a:lnTo>
                  <a:pt x="27985" y="1327900"/>
                </a:lnTo>
                <a:lnTo>
                  <a:pt x="46977" y="1323046"/>
                </a:lnTo>
                <a:lnTo>
                  <a:pt x="1373162" y="14224"/>
                </a:lnTo>
                <a:lnTo>
                  <a:pt x="1359319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0000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2800333" y="2004376"/>
            <a:ext cx="1515357" cy="1216642"/>
          </a:xfrm>
          <a:custGeom>
            <a:avLst/>
            <a:gdLst/>
            <a:ahLst/>
            <a:cxnLst/>
            <a:rect l="l" t="t" r="r" b="b"/>
            <a:pathLst>
              <a:path w="1546225" h="1241425">
                <a:moveTo>
                  <a:pt x="1439545" y="1205356"/>
                </a:moveTo>
                <a:lnTo>
                  <a:pt x="1434592" y="1209166"/>
                </a:lnTo>
                <a:lnTo>
                  <a:pt x="1433703" y="1214501"/>
                </a:lnTo>
                <a:lnTo>
                  <a:pt x="1432941" y="1219962"/>
                </a:lnTo>
                <a:lnTo>
                  <a:pt x="1436623" y="1224914"/>
                </a:lnTo>
                <a:lnTo>
                  <a:pt x="1442084" y="1225803"/>
                </a:lnTo>
                <a:lnTo>
                  <a:pt x="1546097" y="1241170"/>
                </a:lnTo>
                <a:lnTo>
                  <a:pt x="1544390" y="1236726"/>
                </a:lnTo>
                <a:lnTo>
                  <a:pt x="1524634" y="1236726"/>
                </a:lnTo>
                <a:lnTo>
                  <a:pt x="1495847" y="1213667"/>
                </a:lnTo>
                <a:lnTo>
                  <a:pt x="1439545" y="1205356"/>
                </a:lnTo>
                <a:close/>
              </a:path>
              <a:path w="1546225" h="1241425">
                <a:moveTo>
                  <a:pt x="1495847" y="1213667"/>
                </a:moveTo>
                <a:lnTo>
                  <a:pt x="1524634" y="1236726"/>
                </a:lnTo>
                <a:lnTo>
                  <a:pt x="1527967" y="1232534"/>
                </a:lnTo>
                <a:lnTo>
                  <a:pt x="1521586" y="1232534"/>
                </a:lnTo>
                <a:lnTo>
                  <a:pt x="1515439" y="1216576"/>
                </a:lnTo>
                <a:lnTo>
                  <a:pt x="1495847" y="1213667"/>
                </a:lnTo>
                <a:close/>
              </a:path>
              <a:path w="1546225" h="1241425">
                <a:moveTo>
                  <a:pt x="1500632" y="1135379"/>
                </a:moveTo>
                <a:lnTo>
                  <a:pt x="1495552" y="1137284"/>
                </a:lnTo>
                <a:lnTo>
                  <a:pt x="1490471" y="1139316"/>
                </a:lnTo>
                <a:lnTo>
                  <a:pt x="1487932" y="1145031"/>
                </a:lnTo>
                <a:lnTo>
                  <a:pt x="1489836" y="1150112"/>
                </a:lnTo>
                <a:lnTo>
                  <a:pt x="1508431" y="1198383"/>
                </a:lnTo>
                <a:lnTo>
                  <a:pt x="1536954" y="1221231"/>
                </a:lnTo>
                <a:lnTo>
                  <a:pt x="1524634" y="1236726"/>
                </a:lnTo>
                <a:lnTo>
                  <a:pt x="1544390" y="1236726"/>
                </a:lnTo>
                <a:lnTo>
                  <a:pt x="1508379" y="1143000"/>
                </a:lnTo>
                <a:lnTo>
                  <a:pt x="1506346" y="1137919"/>
                </a:lnTo>
                <a:lnTo>
                  <a:pt x="1500632" y="1135379"/>
                </a:lnTo>
                <a:close/>
              </a:path>
              <a:path w="1546225" h="1241425">
                <a:moveTo>
                  <a:pt x="1515439" y="1216576"/>
                </a:moveTo>
                <a:lnTo>
                  <a:pt x="1521586" y="1232534"/>
                </a:lnTo>
                <a:lnTo>
                  <a:pt x="1532255" y="1219073"/>
                </a:lnTo>
                <a:lnTo>
                  <a:pt x="1515439" y="1216576"/>
                </a:lnTo>
                <a:close/>
              </a:path>
              <a:path w="1546225" h="1241425">
                <a:moveTo>
                  <a:pt x="1508431" y="1198383"/>
                </a:moveTo>
                <a:lnTo>
                  <a:pt x="1515439" y="1216576"/>
                </a:lnTo>
                <a:lnTo>
                  <a:pt x="1532255" y="1219073"/>
                </a:lnTo>
                <a:lnTo>
                  <a:pt x="1521586" y="1232534"/>
                </a:lnTo>
                <a:lnTo>
                  <a:pt x="1527967" y="1232534"/>
                </a:lnTo>
                <a:lnTo>
                  <a:pt x="1536954" y="1221231"/>
                </a:lnTo>
                <a:lnTo>
                  <a:pt x="1508431" y="1198383"/>
                </a:lnTo>
                <a:close/>
              </a:path>
              <a:path w="1546225" h="1241425">
                <a:moveTo>
                  <a:pt x="12445" y="0"/>
                </a:moveTo>
                <a:lnTo>
                  <a:pt x="0" y="15493"/>
                </a:lnTo>
                <a:lnTo>
                  <a:pt x="1495847" y="1213667"/>
                </a:lnTo>
                <a:lnTo>
                  <a:pt x="1515439" y="1216576"/>
                </a:lnTo>
                <a:lnTo>
                  <a:pt x="1508431" y="1198383"/>
                </a:lnTo>
                <a:lnTo>
                  <a:pt x="12445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0000"/>
              </a:solidFill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724031" y="3794112"/>
            <a:ext cx="412600" cy="2412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568" spc="-29" dirty="0">
                <a:solidFill>
                  <a:srgbClr val="000000"/>
                </a:solidFill>
                <a:cs typeface="Segoe UI Light"/>
              </a:rPr>
              <a:t>4 </a:t>
            </a:r>
            <a:r>
              <a:rPr sz="1568" spc="-5" dirty="0">
                <a:solidFill>
                  <a:srgbClr val="000000"/>
                </a:solidFill>
                <a:cs typeface="Segoe UI Light"/>
              </a:rPr>
              <a:t>/</a:t>
            </a:r>
            <a:r>
              <a:rPr sz="1568" spc="-64" dirty="0">
                <a:solidFill>
                  <a:srgbClr val="000000"/>
                </a:solidFill>
                <a:cs typeface="Segoe UI Light"/>
              </a:rPr>
              <a:t> </a:t>
            </a:r>
            <a:r>
              <a:rPr sz="1568" spc="-5" dirty="0">
                <a:solidFill>
                  <a:srgbClr val="FF0000"/>
                </a:solidFill>
                <a:cs typeface="Segoe UI Light"/>
              </a:rPr>
              <a:t>0</a:t>
            </a:r>
            <a:endParaRPr sz="1568" dirty="0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260357" y="3794112"/>
            <a:ext cx="412600" cy="2412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568" spc="-5" dirty="0">
                <a:solidFill>
                  <a:srgbClr val="000000"/>
                </a:solidFill>
                <a:cs typeface="Segoe UI Light"/>
              </a:rPr>
              <a:t>2 /</a:t>
            </a:r>
            <a:r>
              <a:rPr sz="1568" spc="-88" dirty="0">
                <a:solidFill>
                  <a:srgbClr val="000000"/>
                </a:solidFill>
                <a:cs typeface="Segoe UI Light"/>
              </a:rPr>
              <a:t> </a:t>
            </a:r>
            <a:r>
              <a:rPr sz="1568" spc="-5" dirty="0">
                <a:solidFill>
                  <a:srgbClr val="FF0000"/>
                </a:solidFill>
                <a:cs typeface="Segoe UI Light"/>
              </a:rPr>
              <a:t>3</a:t>
            </a:r>
            <a:endParaRPr sz="1568" dirty="0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362375" y="2282188"/>
            <a:ext cx="413223" cy="2412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568" spc="-5" dirty="0">
                <a:solidFill>
                  <a:srgbClr val="000000"/>
                </a:solidFill>
                <a:cs typeface="Segoe UI Light"/>
              </a:rPr>
              <a:t>9 /</a:t>
            </a:r>
            <a:r>
              <a:rPr sz="1568" spc="-83" dirty="0">
                <a:solidFill>
                  <a:srgbClr val="000000"/>
                </a:solidFill>
                <a:cs typeface="Segoe UI Light"/>
              </a:rPr>
              <a:t> </a:t>
            </a:r>
            <a:r>
              <a:rPr sz="1568" spc="-5" dirty="0">
                <a:solidFill>
                  <a:srgbClr val="FF0000"/>
                </a:solidFill>
                <a:cs typeface="Segoe UI Light"/>
              </a:rPr>
              <a:t>5</a:t>
            </a:r>
            <a:endParaRPr sz="1568" dirty="0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403167" y="3303503"/>
            <a:ext cx="1383262" cy="396353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6760" rIns="0" bIns="0" rtlCol="0" anchor="ctr">
            <a:spAutoFit/>
          </a:bodyPr>
          <a:lstStyle/>
          <a:p>
            <a:pPr marL="76543" algn="ctr" defTabSz="896112">
              <a:spcBef>
                <a:spcPts val="211"/>
              </a:spcBef>
            </a:pPr>
            <a:r>
              <a:rPr sz="2400" spc="-10" dirty="0">
                <a:solidFill>
                  <a:srgbClr val="FFFFFF"/>
                </a:solidFill>
                <a:cs typeface="Segoe UI Light"/>
              </a:rPr>
              <a:t>Overcast</a:t>
            </a:r>
            <a:endParaRPr sz="2400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187704" y="3794112"/>
            <a:ext cx="412600" cy="2412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568" spc="-5" dirty="0">
                <a:solidFill>
                  <a:srgbClr val="000000"/>
                </a:solidFill>
                <a:cs typeface="Segoe UI Light"/>
              </a:rPr>
              <a:t>3 /</a:t>
            </a:r>
            <a:r>
              <a:rPr sz="1568" spc="-83" dirty="0">
                <a:solidFill>
                  <a:srgbClr val="000000"/>
                </a:solidFill>
                <a:cs typeface="Segoe UI Light"/>
              </a:rPr>
              <a:t> </a:t>
            </a:r>
            <a:r>
              <a:rPr sz="1568" spc="-5" dirty="0">
                <a:solidFill>
                  <a:srgbClr val="FF0000"/>
                </a:solidFill>
                <a:cs typeface="Segoe UI Light"/>
              </a:rPr>
              <a:t>2</a:t>
            </a:r>
            <a:endParaRPr sz="1568" dirty="0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8020684" y="2166156"/>
            <a:ext cx="1170926" cy="466120"/>
          </a:xfrm>
          <a:custGeom>
            <a:avLst/>
            <a:gdLst/>
            <a:ahLst/>
            <a:cxnLst/>
            <a:rect l="l" t="t" r="r" b="b"/>
            <a:pathLst>
              <a:path w="894715" h="475614">
                <a:moveTo>
                  <a:pt x="0" y="237744"/>
                </a:moveTo>
                <a:lnTo>
                  <a:pt x="15979" y="174536"/>
                </a:lnTo>
                <a:lnTo>
                  <a:pt x="61072" y="117743"/>
                </a:lnTo>
                <a:lnTo>
                  <a:pt x="93204" y="92459"/>
                </a:lnTo>
                <a:lnTo>
                  <a:pt x="131016" y="69627"/>
                </a:lnTo>
                <a:lnTo>
                  <a:pt x="173973" y="49532"/>
                </a:lnTo>
                <a:lnTo>
                  <a:pt x="221544" y="32455"/>
                </a:lnTo>
                <a:lnTo>
                  <a:pt x="273194" y="18680"/>
                </a:lnTo>
                <a:lnTo>
                  <a:pt x="328392" y="8491"/>
                </a:lnTo>
                <a:lnTo>
                  <a:pt x="386602" y="2170"/>
                </a:lnTo>
                <a:lnTo>
                  <a:pt x="447294" y="0"/>
                </a:lnTo>
                <a:lnTo>
                  <a:pt x="507985" y="2170"/>
                </a:lnTo>
                <a:lnTo>
                  <a:pt x="566195" y="8491"/>
                </a:lnTo>
                <a:lnTo>
                  <a:pt x="621393" y="18680"/>
                </a:lnTo>
                <a:lnTo>
                  <a:pt x="673043" y="32455"/>
                </a:lnTo>
                <a:lnTo>
                  <a:pt x="720614" y="49532"/>
                </a:lnTo>
                <a:lnTo>
                  <a:pt x="763571" y="69627"/>
                </a:lnTo>
                <a:lnTo>
                  <a:pt x="801383" y="92459"/>
                </a:lnTo>
                <a:lnTo>
                  <a:pt x="833515" y="117743"/>
                </a:lnTo>
                <a:lnTo>
                  <a:pt x="878608" y="174536"/>
                </a:lnTo>
                <a:lnTo>
                  <a:pt x="894587" y="237744"/>
                </a:lnTo>
                <a:lnTo>
                  <a:pt x="890504" y="270007"/>
                </a:lnTo>
                <a:lnTo>
                  <a:pt x="859434" y="330291"/>
                </a:lnTo>
                <a:lnTo>
                  <a:pt x="801383" y="383028"/>
                </a:lnTo>
                <a:lnTo>
                  <a:pt x="763571" y="405860"/>
                </a:lnTo>
                <a:lnTo>
                  <a:pt x="720614" y="425955"/>
                </a:lnTo>
                <a:lnTo>
                  <a:pt x="673043" y="443032"/>
                </a:lnTo>
                <a:lnTo>
                  <a:pt x="621393" y="456807"/>
                </a:lnTo>
                <a:lnTo>
                  <a:pt x="566195" y="466996"/>
                </a:lnTo>
                <a:lnTo>
                  <a:pt x="507985" y="473317"/>
                </a:lnTo>
                <a:lnTo>
                  <a:pt x="447294" y="475488"/>
                </a:lnTo>
                <a:lnTo>
                  <a:pt x="386602" y="473317"/>
                </a:lnTo>
                <a:lnTo>
                  <a:pt x="328392" y="466996"/>
                </a:lnTo>
                <a:lnTo>
                  <a:pt x="273194" y="456807"/>
                </a:lnTo>
                <a:lnTo>
                  <a:pt x="221544" y="443032"/>
                </a:lnTo>
                <a:lnTo>
                  <a:pt x="173973" y="425955"/>
                </a:lnTo>
                <a:lnTo>
                  <a:pt x="131016" y="405860"/>
                </a:lnTo>
                <a:lnTo>
                  <a:pt x="93204" y="383028"/>
                </a:lnTo>
                <a:lnTo>
                  <a:pt x="61072" y="357744"/>
                </a:lnTo>
                <a:lnTo>
                  <a:pt x="15979" y="300951"/>
                </a:lnTo>
                <a:lnTo>
                  <a:pt x="0" y="237744"/>
                </a:lnTo>
                <a:close/>
              </a:path>
            </a:pathLst>
          </a:custGeom>
          <a:solidFill>
            <a:srgbClr val="0070C0"/>
          </a:solidFill>
          <a:ln w="25907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0000"/>
              </a:solidFill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221956" y="2222299"/>
            <a:ext cx="768383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2446" algn="ctr" defTabSz="896112"/>
            <a:r>
              <a:rPr sz="2400" spc="-5" dirty="0">
                <a:solidFill>
                  <a:srgbClr val="FFFFFF"/>
                </a:solidFill>
                <a:cs typeface="Segoe UI Light"/>
              </a:rPr>
              <a:t>W</a:t>
            </a:r>
            <a:r>
              <a:rPr sz="2400" spc="-15" dirty="0">
                <a:solidFill>
                  <a:srgbClr val="FFFFFF"/>
                </a:solidFill>
                <a:cs typeface="Segoe UI Light"/>
              </a:rPr>
              <a:t>i</a:t>
            </a:r>
            <a:r>
              <a:rPr sz="2400" spc="-10" dirty="0">
                <a:solidFill>
                  <a:srgbClr val="FFFFFF"/>
                </a:solidFill>
                <a:cs typeface="Segoe UI Light"/>
              </a:rPr>
              <a:t>nd</a:t>
            </a:r>
            <a:endParaRPr sz="2400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928334" y="3273819"/>
            <a:ext cx="1090861" cy="449306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6760" rIns="0" bIns="0" rtlCol="0" anchor="ctr">
            <a:spAutoFit/>
          </a:bodyPr>
          <a:lstStyle/>
          <a:p>
            <a:pPr marL="76543" algn="ctr" defTabSz="896112">
              <a:spcBef>
                <a:spcPts val="211"/>
              </a:spcBef>
            </a:pPr>
            <a:r>
              <a:rPr sz="2744" spc="-20" dirty="0">
                <a:solidFill>
                  <a:srgbClr val="FFFFFF"/>
                </a:solidFill>
                <a:cs typeface="Segoe UI Light"/>
              </a:rPr>
              <a:t>Weak</a:t>
            </a:r>
            <a:endParaRPr sz="274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984284" y="3237728"/>
            <a:ext cx="1688736" cy="449306"/>
          </a:xfrm>
          <a:prstGeom prst="rect">
            <a:avLst/>
          </a:prstGeom>
          <a:solidFill>
            <a:srgbClr val="0070C0"/>
          </a:solidFill>
          <a:ln w="25908">
            <a:solidFill>
              <a:srgbClr val="0070C0"/>
            </a:solidFill>
          </a:ln>
        </p:spPr>
        <p:txBody>
          <a:bodyPr vert="horz" wrap="square" lIns="0" tIns="26760" rIns="0" bIns="0" rtlCol="0" anchor="ctr">
            <a:spAutoFit/>
          </a:bodyPr>
          <a:lstStyle/>
          <a:p>
            <a:pPr marL="77165" algn="ctr" defTabSz="896112">
              <a:spcBef>
                <a:spcPts val="211"/>
              </a:spcBef>
            </a:pPr>
            <a:r>
              <a:rPr sz="2744" spc="-15" dirty="0">
                <a:solidFill>
                  <a:srgbClr val="FFFFFF"/>
                </a:solidFill>
                <a:cs typeface="Segoe UI Light"/>
              </a:rPr>
              <a:t>Strong</a:t>
            </a:r>
            <a:endParaRPr sz="274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7436697" y="2623813"/>
            <a:ext cx="1027455" cy="609254"/>
          </a:xfrm>
          <a:custGeom>
            <a:avLst/>
            <a:gdLst/>
            <a:ahLst/>
            <a:cxnLst/>
            <a:rect l="l" t="t" r="r" b="b"/>
            <a:pathLst>
              <a:path w="1048384" h="621664">
                <a:moveTo>
                  <a:pt x="60198" y="523239"/>
                </a:moveTo>
                <a:lnTo>
                  <a:pt x="54102" y="525017"/>
                </a:lnTo>
                <a:lnTo>
                  <a:pt x="51435" y="529716"/>
                </a:lnTo>
                <a:lnTo>
                  <a:pt x="0" y="621411"/>
                </a:lnTo>
                <a:lnTo>
                  <a:pt x="110617" y="621156"/>
                </a:lnTo>
                <a:lnTo>
                  <a:pt x="111760" y="620013"/>
                </a:lnTo>
                <a:lnTo>
                  <a:pt x="21971" y="620013"/>
                </a:lnTo>
                <a:lnTo>
                  <a:pt x="11938" y="602995"/>
                </a:lnTo>
                <a:lnTo>
                  <a:pt x="43414" y="584502"/>
                </a:lnTo>
                <a:lnTo>
                  <a:pt x="68707" y="539495"/>
                </a:lnTo>
                <a:lnTo>
                  <a:pt x="71374" y="534669"/>
                </a:lnTo>
                <a:lnTo>
                  <a:pt x="69723" y="528574"/>
                </a:lnTo>
                <a:lnTo>
                  <a:pt x="64897" y="525906"/>
                </a:lnTo>
                <a:lnTo>
                  <a:pt x="60198" y="523239"/>
                </a:lnTo>
                <a:close/>
              </a:path>
              <a:path w="1048384" h="621664">
                <a:moveTo>
                  <a:pt x="43414" y="584502"/>
                </a:moveTo>
                <a:lnTo>
                  <a:pt x="11938" y="602995"/>
                </a:lnTo>
                <a:lnTo>
                  <a:pt x="21971" y="620013"/>
                </a:lnTo>
                <a:lnTo>
                  <a:pt x="28239" y="616330"/>
                </a:lnTo>
                <a:lnTo>
                  <a:pt x="25527" y="616330"/>
                </a:lnTo>
                <a:lnTo>
                  <a:pt x="16891" y="601599"/>
                </a:lnTo>
                <a:lnTo>
                  <a:pt x="33833" y="601550"/>
                </a:lnTo>
                <a:lnTo>
                  <a:pt x="43414" y="584502"/>
                </a:lnTo>
                <a:close/>
              </a:path>
              <a:path w="1048384" h="621664">
                <a:moveTo>
                  <a:pt x="110617" y="601344"/>
                </a:moveTo>
                <a:lnTo>
                  <a:pt x="105156" y="601344"/>
                </a:lnTo>
                <a:lnTo>
                  <a:pt x="53492" y="601493"/>
                </a:lnTo>
                <a:lnTo>
                  <a:pt x="21971" y="620013"/>
                </a:lnTo>
                <a:lnTo>
                  <a:pt x="111760" y="620013"/>
                </a:lnTo>
                <a:lnTo>
                  <a:pt x="115062" y="616712"/>
                </a:lnTo>
                <a:lnTo>
                  <a:pt x="115062" y="605789"/>
                </a:lnTo>
                <a:lnTo>
                  <a:pt x="110617" y="601344"/>
                </a:lnTo>
                <a:close/>
              </a:path>
              <a:path w="1048384" h="621664">
                <a:moveTo>
                  <a:pt x="33833" y="601550"/>
                </a:moveTo>
                <a:lnTo>
                  <a:pt x="16891" y="601599"/>
                </a:lnTo>
                <a:lnTo>
                  <a:pt x="25527" y="616330"/>
                </a:lnTo>
                <a:lnTo>
                  <a:pt x="33833" y="601550"/>
                </a:lnTo>
                <a:close/>
              </a:path>
              <a:path w="1048384" h="621664">
                <a:moveTo>
                  <a:pt x="53492" y="601493"/>
                </a:moveTo>
                <a:lnTo>
                  <a:pt x="33833" y="601550"/>
                </a:lnTo>
                <a:lnTo>
                  <a:pt x="25527" y="616330"/>
                </a:lnTo>
                <a:lnTo>
                  <a:pt x="28239" y="616330"/>
                </a:lnTo>
                <a:lnTo>
                  <a:pt x="53492" y="601493"/>
                </a:lnTo>
                <a:close/>
              </a:path>
              <a:path w="1048384" h="621664">
                <a:moveTo>
                  <a:pt x="1038225" y="0"/>
                </a:moveTo>
                <a:lnTo>
                  <a:pt x="43414" y="584502"/>
                </a:lnTo>
                <a:lnTo>
                  <a:pt x="33833" y="601550"/>
                </a:lnTo>
                <a:lnTo>
                  <a:pt x="53492" y="601493"/>
                </a:lnTo>
                <a:lnTo>
                  <a:pt x="1048258" y="17017"/>
                </a:lnTo>
                <a:lnTo>
                  <a:pt x="1038225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0000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8453200" y="2623812"/>
            <a:ext cx="917926" cy="565692"/>
          </a:xfrm>
          <a:custGeom>
            <a:avLst/>
            <a:gdLst/>
            <a:ahLst/>
            <a:cxnLst/>
            <a:rect l="l" t="t" r="r" b="b"/>
            <a:pathLst>
              <a:path w="936625" h="577214">
                <a:moveTo>
                  <a:pt x="825880" y="554863"/>
                </a:moveTo>
                <a:lnTo>
                  <a:pt x="821308" y="559180"/>
                </a:lnTo>
                <a:lnTo>
                  <a:pt x="821054" y="570102"/>
                </a:lnTo>
                <a:lnTo>
                  <a:pt x="825500" y="574675"/>
                </a:lnTo>
                <a:lnTo>
                  <a:pt x="936117" y="576833"/>
                </a:lnTo>
                <a:lnTo>
                  <a:pt x="935158" y="575055"/>
                </a:lnTo>
                <a:lnTo>
                  <a:pt x="914146" y="575055"/>
                </a:lnTo>
                <a:lnTo>
                  <a:pt x="882855" y="555954"/>
                </a:lnTo>
                <a:lnTo>
                  <a:pt x="825880" y="554863"/>
                </a:lnTo>
                <a:close/>
              </a:path>
              <a:path w="936625" h="577214">
                <a:moveTo>
                  <a:pt x="882855" y="555954"/>
                </a:moveTo>
                <a:lnTo>
                  <a:pt x="914146" y="575055"/>
                </a:lnTo>
                <a:lnTo>
                  <a:pt x="916466" y="571245"/>
                </a:lnTo>
                <a:lnTo>
                  <a:pt x="910589" y="571245"/>
                </a:lnTo>
                <a:lnTo>
                  <a:pt x="902530" y="556323"/>
                </a:lnTo>
                <a:lnTo>
                  <a:pt x="882855" y="555954"/>
                </a:lnTo>
                <a:close/>
              </a:path>
              <a:path w="936625" h="577214">
                <a:moveTo>
                  <a:pt x="877570" y="477646"/>
                </a:moveTo>
                <a:lnTo>
                  <a:pt x="872744" y="480187"/>
                </a:lnTo>
                <a:lnTo>
                  <a:pt x="867918" y="482853"/>
                </a:lnTo>
                <a:lnTo>
                  <a:pt x="866139" y="488823"/>
                </a:lnTo>
                <a:lnTo>
                  <a:pt x="868679" y="493649"/>
                </a:lnTo>
                <a:lnTo>
                  <a:pt x="893235" y="539113"/>
                </a:lnTo>
                <a:lnTo>
                  <a:pt x="924432" y="558164"/>
                </a:lnTo>
                <a:lnTo>
                  <a:pt x="914146" y="575055"/>
                </a:lnTo>
                <a:lnTo>
                  <a:pt x="935158" y="575055"/>
                </a:lnTo>
                <a:lnTo>
                  <a:pt x="886205" y="484250"/>
                </a:lnTo>
                <a:lnTo>
                  <a:pt x="883538" y="479425"/>
                </a:lnTo>
                <a:lnTo>
                  <a:pt x="877570" y="477646"/>
                </a:lnTo>
                <a:close/>
              </a:path>
              <a:path w="936625" h="577214">
                <a:moveTo>
                  <a:pt x="902530" y="556323"/>
                </a:moveTo>
                <a:lnTo>
                  <a:pt x="910589" y="571245"/>
                </a:lnTo>
                <a:lnTo>
                  <a:pt x="919479" y="556640"/>
                </a:lnTo>
                <a:lnTo>
                  <a:pt x="902530" y="556323"/>
                </a:lnTo>
                <a:close/>
              </a:path>
              <a:path w="936625" h="577214">
                <a:moveTo>
                  <a:pt x="893235" y="539113"/>
                </a:moveTo>
                <a:lnTo>
                  <a:pt x="902530" y="556323"/>
                </a:lnTo>
                <a:lnTo>
                  <a:pt x="919479" y="556640"/>
                </a:lnTo>
                <a:lnTo>
                  <a:pt x="910589" y="571245"/>
                </a:lnTo>
                <a:lnTo>
                  <a:pt x="916466" y="571245"/>
                </a:lnTo>
                <a:lnTo>
                  <a:pt x="924432" y="558164"/>
                </a:lnTo>
                <a:lnTo>
                  <a:pt x="893235" y="539113"/>
                </a:lnTo>
                <a:close/>
              </a:path>
              <a:path w="936625" h="577214">
                <a:moveTo>
                  <a:pt x="10413" y="0"/>
                </a:moveTo>
                <a:lnTo>
                  <a:pt x="0" y="17017"/>
                </a:lnTo>
                <a:lnTo>
                  <a:pt x="882855" y="555954"/>
                </a:lnTo>
                <a:lnTo>
                  <a:pt x="902530" y="556323"/>
                </a:lnTo>
                <a:lnTo>
                  <a:pt x="893235" y="539113"/>
                </a:lnTo>
                <a:lnTo>
                  <a:pt x="10413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0000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267464" y="3767489"/>
            <a:ext cx="412600" cy="2412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568" spc="-5" dirty="0">
                <a:solidFill>
                  <a:srgbClr val="000000"/>
                </a:solidFill>
                <a:cs typeface="Segoe UI Light"/>
              </a:rPr>
              <a:t>6 /</a:t>
            </a:r>
            <a:r>
              <a:rPr sz="1568" spc="-88" dirty="0">
                <a:solidFill>
                  <a:srgbClr val="000000"/>
                </a:solidFill>
                <a:cs typeface="Segoe UI Light"/>
              </a:rPr>
              <a:t> </a:t>
            </a:r>
            <a:r>
              <a:rPr sz="1568" spc="-5" dirty="0">
                <a:solidFill>
                  <a:srgbClr val="FF0000"/>
                </a:solidFill>
                <a:cs typeface="Segoe UI Light"/>
              </a:rPr>
              <a:t>2</a:t>
            </a:r>
            <a:endParaRPr sz="1568" dirty="0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Which attribute to split on?</a:t>
            </a:r>
          </a:p>
        </p:txBody>
      </p:sp>
      <p:sp>
        <p:nvSpPr>
          <p:cNvPr id="23" name="object 23"/>
          <p:cNvSpPr txBox="1"/>
          <p:nvPr/>
        </p:nvSpPr>
        <p:spPr>
          <a:xfrm>
            <a:off x="9575744" y="3742341"/>
            <a:ext cx="413223" cy="2412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568" spc="-5" dirty="0">
                <a:solidFill>
                  <a:srgbClr val="000000"/>
                </a:solidFill>
                <a:cs typeface="Segoe UI Light"/>
              </a:rPr>
              <a:t>3 /</a:t>
            </a:r>
            <a:r>
              <a:rPr sz="1568" spc="-83" dirty="0">
                <a:solidFill>
                  <a:srgbClr val="000000"/>
                </a:solidFill>
                <a:cs typeface="Segoe UI Light"/>
              </a:rPr>
              <a:t> </a:t>
            </a:r>
            <a:r>
              <a:rPr sz="1568" spc="-5" dirty="0">
                <a:solidFill>
                  <a:srgbClr val="FF0000"/>
                </a:solidFill>
                <a:cs typeface="Segoe UI Light"/>
              </a:rPr>
              <a:t>3</a:t>
            </a:r>
            <a:endParaRPr sz="1568" dirty="0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800853" y="1645422"/>
            <a:ext cx="412600" cy="2412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568" spc="-5" dirty="0">
                <a:solidFill>
                  <a:srgbClr val="000000"/>
                </a:solidFill>
                <a:cs typeface="Segoe UI Light"/>
              </a:rPr>
              <a:t>9 /</a:t>
            </a:r>
            <a:r>
              <a:rPr sz="1568" spc="-83" dirty="0">
                <a:solidFill>
                  <a:srgbClr val="000000"/>
                </a:solidFill>
                <a:cs typeface="Segoe UI Light"/>
              </a:rPr>
              <a:t> </a:t>
            </a:r>
            <a:r>
              <a:rPr sz="1568" spc="-5" dirty="0">
                <a:solidFill>
                  <a:srgbClr val="FF0000"/>
                </a:solidFill>
                <a:cs typeface="Segoe UI Light"/>
              </a:rPr>
              <a:t>5</a:t>
            </a:r>
            <a:endParaRPr sz="1568" dirty="0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14672" y="4631651"/>
            <a:ext cx="10966644" cy="11056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8488" indent="-336042" defTabSz="896112">
              <a:buClr>
                <a:srgbClr val="FF5800"/>
              </a:buClr>
              <a:buFont typeface="Wingdings" panose="05000000000000000000" pitchFamily="2" charset="2"/>
              <a:buChar char="§"/>
            </a:pPr>
            <a:r>
              <a:rPr sz="2395" dirty="0">
                <a:solidFill>
                  <a:srgbClr val="646464"/>
                </a:solidFill>
              </a:rPr>
              <a:t>Measure the purity of split</a:t>
            </a:r>
            <a:endParaRPr lang="en-US" sz="2395" dirty="0">
              <a:solidFill>
                <a:srgbClr val="646464"/>
              </a:solidFill>
            </a:endParaRPr>
          </a:p>
          <a:p>
            <a:pPr marL="348488" indent="-336042" defTabSz="896112">
              <a:buClr>
                <a:srgbClr val="FF5800"/>
              </a:buClr>
              <a:buFont typeface="Wingdings" panose="05000000000000000000" pitchFamily="2" charset="2"/>
              <a:buChar char="§"/>
            </a:pPr>
            <a:r>
              <a:rPr sz="2395" dirty="0">
                <a:solidFill>
                  <a:srgbClr val="646464"/>
                </a:solidFill>
              </a:rPr>
              <a:t>Entropy , a measure of the uncertainty is used to find the best attribute to split on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61884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2529840" y="1249233"/>
            <a:ext cx="8968477" cy="2839291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112"/>
            <a:endParaRPr lang="en-US" sz="1764">
              <a:ln>
                <a:solidFill>
                  <a:srgbClr val="FFFFFF">
                    <a:lumMod val="50000"/>
                  </a:srgbClr>
                </a:solidFill>
              </a:ln>
              <a:solidFill>
                <a:srgbClr val="FFFFFF"/>
              </a:solidFill>
              <a:latin typeface="Arial"/>
            </a:endParaRPr>
          </a:p>
        </p:txBody>
      </p:sp>
      <p:sp>
        <p:nvSpPr>
          <p:cNvPr id="793603" name="AutoShape 3"/>
          <p:cNvSpPr>
            <a:spLocks noGrp="1" noChangeAspect="1" noChangeArrowheads="1"/>
          </p:cNvSpPr>
          <p:nvPr>
            <p:ph idx="1"/>
          </p:nvPr>
        </p:nvSpPr>
        <p:spPr>
          <a:xfrm>
            <a:off x="2814320" y="1389063"/>
            <a:ext cx="8683997" cy="4351338"/>
          </a:xfrm>
        </p:spPr>
        <p:txBody>
          <a:bodyPr/>
          <a:lstStyle/>
          <a:p>
            <a:pPr marL="448056" indent="-448056">
              <a:spcAft>
                <a:spcPts val="147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altLang="ja-JP" kern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cision trees are powerful, non linear but logical models that mimics the way people like to reason</a:t>
            </a:r>
          </a:p>
          <a:p>
            <a:pPr marL="448056" indent="-448056">
              <a:spcAft>
                <a:spcPts val="147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altLang="ja-JP" kern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e standard way to build a decision tree is by “splitting” features one by one</a:t>
            </a:r>
          </a:p>
          <a:p>
            <a:pPr marL="448056" indent="-448056">
              <a:spcAft>
                <a:spcPts val="147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nl-NL" altLang="nl-NL" kern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 the end, it is important to go back and prune the tree to limit its size and avoid overfitting</a:t>
            </a:r>
            <a:endParaRPr lang="en-US" altLang="nl-NL" kern="12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93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You learnt so far…</a:t>
            </a:r>
            <a:endParaRPr lang="en-US" altLang="nl-NL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236" y="967248"/>
            <a:ext cx="2640870" cy="283830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04229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fontAlgn="ctr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395" dirty="0">
                <a:latin typeface="Segoe UI Light" panose="020B0502040204020203" pitchFamily="34" charset="0"/>
                <a:cs typeface="Segoe UI Light" panose="020B0502040204020203" pitchFamily="34" charset="0"/>
              </a:rPr>
              <a:t> An overview of Decision Trees and scenarios for usage</a:t>
            </a:r>
          </a:p>
          <a:p>
            <a:pPr fontAlgn="ctr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395" dirty="0">
                <a:latin typeface="Segoe UI Light" panose="020B0502040204020203" pitchFamily="34" charset="0"/>
                <a:cs typeface="Segoe UI Light" panose="020B0502040204020203" pitchFamily="34" charset="0"/>
              </a:rPr>
              <a:t> A deep dive into </a:t>
            </a:r>
            <a:r>
              <a:rPr lang="nl-NL" sz="2395" dirty="0">
                <a:latin typeface="Segoe UI Light" panose="020B0502040204020203" pitchFamily="34" charset="0"/>
                <a:cs typeface="Segoe UI Light" panose="020B0502040204020203" pitchFamily="34" charset="0"/>
              </a:rPr>
              <a:t>Decision Trees using an example</a:t>
            </a:r>
            <a:endParaRPr lang="en-US" sz="1798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Over the next 1 hour, you will get…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8553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021301" y="1554914"/>
            <a:ext cx="8221471" cy="10323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5630"/>
            <a:r>
              <a:rPr lang="en-US" sz="5999" dirty="0">
                <a:solidFill>
                  <a:schemeClr val="bg1"/>
                </a:solidFill>
              </a:rPr>
              <a:t>Decision Trees</a:t>
            </a:r>
          </a:p>
        </p:txBody>
      </p:sp>
    </p:spTree>
    <p:extLst>
      <p:ext uri="{BB962C8B-B14F-4D97-AF65-F5344CB8AC3E}">
        <p14:creationId xmlns:p14="http://schemas.microsoft.com/office/powerpoint/2010/main" val="59902971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69771" y="1048011"/>
            <a:ext cx="6465688" cy="48152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Why Decision Trees? </a:t>
            </a:r>
          </a:p>
        </p:txBody>
      </p:sp>
      <p:sp>
        <p:nvSpPr>
          <p:cNvPr id="4" name="Content Placeholder 2"/>
          <p:cNvSpPr>
            <a:spLocks noGrp="1"/>
          </p:cNvSpPr>
          <p:nvPr/>
        </p:nvSpPr>
        <p:spPr>
          <a:xfrm>
            <a:off x="7204289" y="2607534"/>
            <a:ext cx="4682929" cy="2315043"/>
          </a:xfrm>
          <a:prstGeom prst="rect">
            <a:avLst/>
          </a:prstGeom>
        </p:spPr>
        <p:txBody>
          <a:bodyPr/>
          <a:lstStyle>
            <a:lvl1pPr marL="342783" indent="-342783" algn="l" defTabSz="914088" rtl="0" eaLnBrk="1" latinLnBrk="0" hangingPunct="1">
              <a:spcBef>
                <a:spcPts val="1400"/>
              </a:spcBef>
              <a:buFont typeface="Arial" pitchFamily="34" charset="0"/>
              <a:buChar char="•"/>
              <a:defRPr sz="3200" b="0" kern="0" baseline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742698" indent="-285652" algn="l" defTabSz="914088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2800" kern="0" baseline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2612" indent="-228522" algn="l" defTabSz="914088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2400" kern="0" baseline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599657" indent="-228522" algn="l" defTabSz="9140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0" baseline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6700" indent="-228522" algn="l" defTabSz="9140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0" baseline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3745" indent="-228522" algn="l" defTabSz="9140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89" indent="-228522" algn="l" defTabSz="9140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33" indent="-228522" algn="l" defTabSz="9140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78" indent="-228522" algn="l" defTabSz="9140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5806">
              <a:spcBef>
                <a:spcPts val="1372"/>
              </a:spcBef>
              <a:buClr>
                <a:srgbClr val="FF5800"/>
              </a:buClr>
              <a:buNone/>
            </a:pPr>
            <a:r>
              <a:rPr lang="en-US" sz="1800" dirty="0">
                <a:solidFill>
                  <a:srgbClr val="000000"/>
                </a:solidFill>
              </a:rPr>
              <a:t>Why trees? </a:t>
            </a:r>
          </a:p>
          <a:p>
            <a:pPr marL="727844" lvl="1" indent="-279939" defTabSz="895806">
              <a:spcBef>
                <a:spcPts val="294"/>
              </a:spcBef>
              <a:spcAft>
                <a:spcPts val="294"/>
              </a:spcAft>
              <a:buClr>
                <a:srgbClr val="FF58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</a:rPr>
              <a:t>Interpretable, intuitive, popular in medical applications because they mimic the way people like to reason. Logical models.</a:t>
            </a:r>
          </a:p>
          <a:p>
            <a:pPr marL="727844" lvl="1" indent="-279939" defTabSz="895806">
              <a:spcBef>
                <a:spcPts val="294"/>
              </a:spcBef>
              <a:spcAft>
                <a:spcPts val="294"/>
              </a:spcAft>
              <a:buClr>
                <a:srgbClr val="FF58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</a:rPr>
              <a:t>Powerful, nonlinea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84972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 algn="ctr">
              <a:buClr>
                <a:schemeClr val="tx2"/>
              </a:buClr>
              <a:buNone/>
            </a:pPr>
            <a:r>
              <a:rPr lang="en-US" sz="1800" b="1" dirty="0">
                <a:solidFill>
                  <a:schemeClr val="tx2"/>
                </a:solidFill>
                <a:latin typeface="+mn-lt"/>
              </a:rPr>
              <a:t>Example: Will the customer wait for a table at a restaurant?</a:t>
            </a: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en-US" dirty="0">
              <a:latin typeface="+mn-lt"/>
            </a:endParaRP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1" dirty="0" err="1">
                <a:latin typeface="+mn-lt"/>
              </a:rPr>
              <a:t>OthOptions</a:t>
            </a:r>
            <a:r>
              <a:rPr lang="en-US" dirty="0">
                <a:latin typeface="+mn-lt"/>
              </a:rPr>
              <a:t>: Other options, True if there are restaurants nearby.</a:t>
            </a: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1" dirty="0">
                <a:latin typeface="+mn-lt"/>
              </a:rPr>
              <a:t>Weekend</a:t>
            </a:r>
            <a:r>
              <a:rPr lang="en-US" dirty="0">
                <a:latin typeface="+mn-lt"/>
              </a:rPr>
              <a:t>: This is true if it is Friday, Saturday or Sunday.</a:t>
            </a: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1" dirty="0">
                <a:latin typeface="+mn-lt"/>
              </a:rPr>
              <a:t>Area</a:t>
            </a:r>
            <a:r>
              <a:rPr lang="en-US" dirty="0">
                <a:latin typeface="+mn-lt"/>
              </a:rPr>
              <a:t>: Does it have a bar or other nice waiting area to wait in?</a:t>
            </a: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1" dirty="0">
                <a:latin typeface="+mn-lt"/>
              </a:rPr>
              <a:t>Plans</a:t>
            </a:r>
            <a:r>
              <a:rPr lang="en-US" dirty="0">
                <a:latin typeface="+mn-lt"/>
              </a:rPr>
              <a:t>: Does the customer have plans just after dinner?</a:t>
            </a: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1" dirty="0">
                <a:latin typeface="+mn-lt"/>
              </a:rPr>
              <a:t>Price</a:t>
            </a:r>
            <a:r>
              <a:rPr lang="en-US" dirty="0">
                <a:latin typeface="+mn-lt"/>
              </a:rPr>
              <a:t>: This is either $, $$, $$$, or $$$$</a:t>
            </a: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1" dirty="0" err="1">
                <a:latin typeface="+mn-lt"/>
              </a:rPr>
              <a:t>Precip</a:t>
            </a:r>
            <a:r>
              <a:rPr lang="en-US" dirty="0">
                <a:latin typeface="+mn-lt"/>
              </a:rPr>
              <a:t>: Is it raining or snowing?</a:t>
            </a: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1" dirty="0">
                <a:latin typeface="+mn-lt"/>
              </a:rPr>
              <a:t>Genre</a:t>
            </a:r>
            <a:r>
              <a:rPr lang="en-US" dirty="0">
                <a:latin typeface="+mn-lt"/>
              </a:rPr>
              <a:t>: French, Mexican, Thai, or Pizza</a:t>
            </a: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1" dirty="0">
                <a:latin typeface="+mn-lt"/>
              </a:rPr>
              <a:t>Wait</a:t>
            </a:r>
            <a:r>
              <a:rPr lang="en-US" dirty="0">
                <a:latin typeface="+mn-lt"/>
              </a:rPr>
              <a:t>: Wait time estimate: 0-5 min, 6-15 min, 16-30 min, or 30+</a:t>
            </a:r>
          </a:p>
          <a:p>
            <a:pPr marL="735718" lvl="1" indent="-336042"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1" dirty="0">
                <a:latin typeface="+mn-lt"/>
              </a:rPr>
              <a:t>Crowded</a:t>
            </a:r>
            <a:r>
              <a:rPr lang="en-US" dirty="0">
                <a:latin typeface="+mn-lt"/>
              </a:rPr>
              <a:t>: Whether there are other customers (no, some, or full)</a:t>
            </a:r>
          </a:p>
          <a:p>
            <a:pPr marL="0" indent="0">
              <a:buNone/>
            </a:pPr>
            <a:endParaRPr lang="en-US" sz="1800" dirty="0">
              <a:latin typeface="+mn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Decision Trees?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8707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351661"/>
              </p:ext>
            </p:extLst>
          </p:nvPr>
        </p:nvGraphicFramePr>
        <p:xfrm>
          <a:off x="6842788" y="1922413"/>
          <a:ext cx="5115496" cy="454461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144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50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50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50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6594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latin typeface="+mn-lt"/>
                        </a:rPr>
                        <a:t>DAY</a:t>
                      </a:r>
                    </a:p>
                  </a:txBody>
                  <a:tcPr marL="89615" marR="89615" marT="44807" marB="44807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latin typeface="+mn-lt"/>
                        </a:rPr>
                        <a:t>OUTLOOK</a:t>
                      </a:r>
                    </a:p>
                  </a:txBody>
                  <a:tcPr marL="89615" marR="89615" marT="44807" marB="44807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9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dirty="0">
                          <a:latin typeface="+mn-lt"/>
                        </a:rPr>
                        <a:t>HUMIDITY</a:t>
                      </a:r>
                    </a:p>
                  </a:txBody>
                  <a:tcPr marL="89615" marR="89615" marT="44807" marB="44807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latin typeface="+mn-lt"/>
                        </a:rPr>
                        <a:t>WIND</a:t>
                      </a:r>
                    </a:p>
                  </a:txBody>
                  <a:tcPr marL="89615" marR="89615" marT="44807" marB="44807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latin typeface="+mn-lt"/>
                        </a:rPr>
                        <a:t>PLAY</a:t>
                      </a:r>
                    </a:p>
                  </a:txBody>
                  <a:tcPr marL="89615" marR="89615" marT="44807" marB="44807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1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unny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High 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Weak 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2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unny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High 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trong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3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Overcast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High 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Weak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4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Rain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Weak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5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Rain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Weak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6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Rain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trong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7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Overcast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rmal 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trong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8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unny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Weak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9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unny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Weak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10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Rain 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Weak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11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unny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rmal 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trong 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12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Overcast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High 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trong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13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Overcast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rmal</a:t>
                      </a:r>
                      <a:r>
                        <a:rPr lang="en-US" sz="1400" b="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Weak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8715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D14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Rain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Strong</a:t>
                      </a:r>
                    </a:p>
                  </a:txBody>
                  <a:tcPr marL="89615" marR="89615" marT="44807" marB="4480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</a:t>
                      </a:r>
                    </a:p>
                  </a:txBody>
                  <a:tcPr marL="89615" marR="89615" marT="44807" marB="44807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457489" y="1485757"/>
            <a:ext cx="4290855" cy="3939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6112"/>
            <a:r>
              <a:rPr lang="en-US" sz="1960" dirty="0">
                <a:solidFill>
                  <a:srgbClr val="FF5800"/>
                </a:solidFill>
              </a:rPr>
              <a:t>Training Examples 14: 9 Yes and 5 No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Example</a:t>
            </a:r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gray">
          <a:xfrm>
            <a:off x="403751" y="2308819"/>
            <a:ext cx="6215000" cy="299179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tIns="46773" bIns="46773" anchor="t">
            <a:noAutofit/>
          </a:bodyPr>
          <a:lstStyle/>
          <a:p>
            <a:pPr marL="336042" indent="-336042" defTabSz="896112">
              <a:buClr>
                <a:srgbClr val="FF5800"/>
              </a:buClr>
              <a:buFont typeface="Wingdings" panose="05000000000000000000" pitchFamily="2" charset="2"/>
              <a:buChar char="§"/>
            </a:pPr>
            <a:r>
              <a:rPr lang="en-US" sz="2300" dirty="0">
                <a:solidFill>
                  <a:prstClr val="black"/>
                </a:solidFill>
                <a:cs typeface="Calibri"/>
              </a:rPr>
              <a:t>Try to understand when X plays Golf </a:t>
            </a:r>
          </a:p>
          <a:p>
            <a:pPr marL="336042" indent="-336042" defTabSz="896112">
              <a:buClr>
                <a:srgbClr val="FF5800"/>
              </a:buClr>
              <a:buFont typeface="Wingdings" panose="05000000000000000000" pitchFamily="2" charset="2"/>
              <a:buChar char="§"/>
            </a:pPr>
            <a:r>
              <a:rPr lang="en-US" sz="2300" dirty="0">
                <a:solidFill>
                  <a:prstClr val="black"/>
                </a:solidFill>
                <a:cs typeface="Calibri"/>
              </a:rPr>
              <a:t>Split into subsets</a:t>
            </a:r>
          </a:p>
          <a:p>
            <a:pPr marL="336042" indent="-336042" defTabSz="896112">
              <a:buClr>
                <a:srgbClr val="FF5800"/>
              </a:buClr>
              <a:buFont typeface="Wingdings" panose="05000000000000000000" pitchFamily="2" charset="2"/>
              <a:buChar char="§"/>
            </a:pPr>
            <a:r>
              <a:rPr lang="en-US" sz="2300" dirty="0">
                <a:solidFill>
                  <a:prstClr val="black"/>
                </a:solidFill>
                <a:cs typeface="Calibri"/>
              </a:rPr>
              <a:t>Are they pure ? (all yes or all no)</a:t>
            </a:r>
          </a:p>
          <a:p>
            <a:pPr marL="784098" lvl="1" indent="-336042" defTabSz="896112">
              <a:buClr>
                <a:srgbClr val="FF5800"/>
              </a:buClr>
              <a:buFont typeface="Wingdings" panose="05000000000000000000" pitchFamily="2" charset="2"/>
              <a:buChar char="§"/>
            </a:pPr>
            <a:r>
              <a:rPr lang="en-US" sz="2300" dirty="0">
                <a:solidFill>
                  <a:prstClr val="black"/>
                </a:solidFill>
                <a:cs typeface="Calibri"/>
              </a:rPr>
              <a:t>If yes stop</a:t>
            </a:r>
          </a:p>
          <a:p>
            <a:pPr marL="784098" lvl="1" indent="-336042" defTabSz="896112">
              <a:buClr>
                <a:srgbClr val="FF5800"/>
              </a:buClr>
              <a:buFont typeface="Wingdings" panose="05000000000000000000" pitchFamily="2" charset="2"/>
              <a:buChar char="§"/>
            </a:pPr>
            <a:r>
              <a:rPr lang="en-US" sz="2300" dirty="0">
                <a:solidFill>
                  <a:prstClr val="black"/>
                </a:solidFill>
                <a:cs typeface="Calibri"/>
              </a:rPr>
              <a:t>If not repeat</a:t>
            </a:r>
          </a:p>
          <a:p>
            <a:pPr defTabSz="896112"/>
            <a:endParaRPr lang="en-US" sz="23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9" name="Round Same Side Corner Rectangle 8"/>
          <p:cNvSpPr/>
          <p:nvPr/>
        </p:nvSpPr>
        <p:spPr bwMode="auto">
          <a:xfrm>
            <a:off x="420414" y="1922413"/>
            <a:ext cx="6198338" cy="390548"/>
          </a:xfrm>
          <a:prstGeom prst="round2Same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tIns="91388" bIns="91388" anchor="ctr"/>
          <a:lstStyle/>
          <a:p>
            <a:pPr marL="188800" indent="-188800" algn="ctr" defTabSz="896112" eaLnBrk="0" hangingPunct="0">
              <a:lnSpc>
                <a:spcPct val="85000"/>
              </a:lnSpc>
              <a:buClr>
                <a:srgbClr val="FDC82F"/>
              </a:buClr>
              <a:buSzPct val="120000"/>
              <a:defRPr/>
            </a:pPr>
            <a:r>
              <a:rPr lang="en-GB" altLang="ja-JP" sz="1960" b="1" dirty="0">
                <a:solidFill>
                  <a:srgbClr val="FFFFFF"/>
                </a:solidFill>
                <a:ea typeface="ＭＳ Ｐゴシック" pitchFamily="34" charset="-128"/>
                <a:cs typeface="Arial" charset="0"/>
              </a:rPr>
              <a:t>Predict if X will Play Golf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403751" y="4635080"/>
            <a:ext cx="6215000" cy="66088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tIns="91388" bIns="91388" anchor="ctr"/>
          <a:lstStyle/>
          <a:p>
            <a:pPr marL="188800" indent="-188800" algn="ctr" defTabSz="896112" eaLnBrk="0" hangingPunct="0">
              <a:lnSpc>
                <a:spcPct val="85000"/>
              </a:lnSpc>
              <a:buClr>
                <a:srgbClr val="FDC82F"/>
              </a:buClr>
              <a:buSzPct val="120000"/>
              <a:defRPr/>
            </a:pPr>
            <a:r>
              <a:rPr lang="en-GB" altLang="ja-JP" sz="1960" b="1" dirty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34" charset="-128"/>
                <a:cs typeface="Arial" charset="0"/>
              </a:rPr>
              <a:t>New data (Today)</a:t>
            </a:r>
          </a:p>
          <a:p>
            <a:pPr marL="188800" indent="-188800" algn="ctr" defTabSz="896112" eaLnBrk="0" hangingPunct="0">
              <a:lnSpc>
                <a:spcPct val="85000"/>
              </a:lnSpc>
              <a:buClr>
                <a:srgbClr val="FDC82F"/>
              </a:buClr>
              <a:buSzPct val="120000"/>
              <a:defRPr/>
            </a:pPr>
            <a:r>
              <a:rPr lang="en-GB" altLang="ja-JP" sz="1960" b="1" dirty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34" charset="-128"/>
                <a:cs typeface="Arial" charset="0"/>
              </a:rPr>
              <a:t>D15 Rain </a:t>
            </a:r>
            <a:r>
              <a:rPr lang="en-GB" altLang="ja-JP" sz="1900" dirty="0">
                <a:solidFill>
                  <a:srgbClr val="FFFFFF"/>
                </a:solidFill>
                <a:ea typeface="ＭＳ Ｐゴシック" pitchFamily="34" charset="-128"/>
                <a:cs typeface="Arial" charset="0"/>
              </a:rPr>
              <a:t>High</a:t>
            </a:r>
            <a:r>
              <a:rPr lang="en-GB" altLang="ja-JP" sz="1960" b="1" dirty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34" charset="-128"/>
                <a:cs typeface="Arial" charset="0"/>
              </a:rPr>
              <a:t> Weak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66656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kern="1200" spc="-15" dirty="0">
                <a:solidFill>
                  <a:prstClr val="black"/>
                </a:solidFill>
                <a:latin typeface="+mn-lt"/>
                <a:cs typeface="Calibri"/>
              </a:rPr>
              <a:t> Start at the top of the tree. 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kern="1200" spc="-15" dirty="0">
                <a:solidFill>
                  <a:prstClr val="black"/>
                </a:solidFill>
                <a:latin typeface="+mn-lt"/>
                <a:cs typeface="Calibri"/>
              </a:rPr>
              <a:t> Grow it by “splitting” features one by one. To split, look at how “impure” the node i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kern="1200" spc="-15" dirty="0">
                <a:solidFill>
                  <a:prstClr val="black"/>
                </a:solidFill>
                <a:latin typeface="+mn-lt"/>
                <a:cs typeface="Calibri"/>
              </a:rPr>
              <a:t> Assign leaf nodes the majority vote in the leaf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kern="1200" spc="-15" dirty="0">
                <a:solidFill>
                  <a:prstClr val="black"/>
                </a:solidFill>
                <a:latin typeface="+mn-lt"/>
                <a:cs typeface="Calibri"/>
              </a:rPr>
              <a:t> At the end, go back and prune leaves to reduce overfitting</a:t>
            </a:r>
          </a:p>
          <a:p>
            <a:endParaRPr lang="en-US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Standard Way to Build a Decision Tre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60792" y="3862140"/>
            <a:ext cx="7056291" cy="5749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6112"/>
            <a:r>
              <a:rPr lang="en-US" sz="3136" dirty="0">
                <a:solidFill>
                  <a:srgbClr val="009FDA"/>
                </a:solidFill>
              </a:rPr>
              <a:t>Why is this a good way to build a tree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0588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9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24892" defTabSz="896112">
              <a:lnSpc>
                <a:spcPts val="1210"/>
              </a:lnSpc>
            </a:pPr>
            <a:fld id="{81D60167-4931-47E6-BA6A-407CBD079E47}" type="slidenum">
              <a:rPr spc="15" dirty="0">
                <a:solidFill>
                  <a:srgbClr val="464646"/>
                </a:solidFill>
                <a:latin typeface="Arial"/>
              </a:rPr>
              <a:pPr marL="24892" defTabSz="896112">
                <a:lnSpc>
                  <a:spcPts val="1210"/>
                </a:lnSpc>
              </a:pPr>
              <a:t>8</a:t>
            </a:fld>
            <a:endParaRPr spc="15" dirty="0">
              <a:solidFill>
                <a:srgbClr val="464646"/>
              </a:solidFill>
              <a:latin typeface="Arial"/>
            </a:endParaRPr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86582" y="1097380"/>
            <a:ext cx="2249768" cy="410369"/>
          </a:xfrm>
          <a:prstGeom prst="rect">
            <a:avLst/>
          </a:pr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75921" algn="ctr">
              <a:lnSpc>
                <a:spcPts val="3161"/>
              </a:lnSpc>
            </a:pPr>
            <a:r>
              <a:rPr sz="2744" spc="-5" dirty="0">
                <a:solidFill>
                  <a:srgbClr val="FFFFFF"/>
                </a:solidFill>
                <a:latin typeface="+mn-lt"/>
                <a:cs typeface="Microsoft Uighur"/>
              </a:rPr>
              <a:t>Outlook</a:t>
            </a:r>
            <a:endParaRPr sz="2744" dirty="0">
              <a:latin typeface="+mn-lt"/>
              <a:cs typeface="Microsoft Uighur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693431" y="1549451"/>
            <a:ext cx="13622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600" dirty="0">
                <a:solidFill>
                  <a:srgbClr val="005CB9"/>
                </a:solidFill>
                <a:cs typeface="Calibri"/>
              </a:rPr>
              <a:t>9 </a:t>
            </a:r>
            <a:r>
              <a:rPr sz="1600" spc="-10" dirty="0">
                <a:solidFill>
                  <a:srgbClr val="005CB9"/>
                </a:solidFill>
                <a:cs typeface="Calibri"/>
              </a:rPr>
              <a:t>yes </a:t>
            </a:r>
            <a:r>
              <a:rPr sz="1600" dirty="0">
                <a:solidFill>
                  <a:srgbClr val="005CB9"/>
                </a:solidFill>
                <a:cs typeface="Calibri"/>
              </a:rPr>
              <a:t>and 5</a:t>
            </a:r>
            <a:r>
              <a:rPr sz="1600" spc="-59" dirty="0">
                <a:solidFill>
                  <a:srgbClr val="005CB9"/>
                </a:solidFill>
                <a:cs typeface="Calibri"/>
              </a:rPr>
              <a:t> </a:t>
            </a:r>
            <a:r>
              <a:rPr sz="1600" dirty="0">
                <a:solidFill>
                  <a:srgbClr val="005CB9"/>
                </a:solidFill>
                <a:cs typeface="Calibri"/>
              </a:rPr>
              <a:t>No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331825" y="2976961"/>
            <a:ext cx="1190630" cy="410369"/>
          </a:xfrm>
          <a:prstGeom prst="rect">
            <a:avLst/>
          </a:pr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75298" algn="ctr" defTabSz="896112">
              <a:lnSpc>
                <a:spcPts val="3170"/>
              </a:lnSpc>
            </a:pPr>
            <a:r>
              <a:rPr sz="2744" spc="-10" dirty="0">
                <a:solidFill>
                  <a:srgbClr val="FFFFFF"/>
                </a:solidFill>
                <a:cs typeface="Microsoft Uighur"/>
              </a:rPr>
              <a:t>Sunny</a:t>
            </a:r>
            <a:endParaRPr sz="2744" dirty="0">
              <a:solidFill>
                <a:srgbClr val="005CB9"/>
              </a:solidFill>
              <a:cs typeface="Microsoft Uighur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045628" y="3010282"/>
            <a:ext cx="1468559" cy="410369"/>
          </a:xfrm>
          <a:prstGeom prst="rect">
            <a:avLst/>
          </a:pr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75921" algn="ctr" defTabSz="896112">
              <a:lnSpc>
                <a:spcPts val="3170"/>
              </a:lnSpc>
            </a:pPr>
            <a:r>
              <a:rPr sz="2744" spc="-5" dirty="0">
                <a:solidFill>
                  <a:srgbClr val="FFFFFF"/>
                </a:solidFill>
                <a:cs typeface="Microsoft Uighur"/>
              </a:rPr>
              <a:t>Overcast</a:t>
            </a:r>
            <a:endParaRPr sz="2744" dirty="0">
              <a:solidFill>
                <a:srgbClr val="005CB9"/>
              </a:solidFill>
              <a:cs typeface="Microsoft Uighur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682750" y="2976961"/>
            <a:ext cx="815407" cy="410369"/>
          </a:xfrm>
          <a:prstGeom prst="rect">
            <a:avLst/>
          </a:prstGeom>
          <a:solidFill>
            <a:schemeClr val="accent6"/>
          </a:solidFill>
          <a:ln w="25907"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77788" algn="ctr" defTabSz="896112">
              <a:lnSpc>
                <a:spcPts val="3170"/>
              </a:lnSpc>
            </a:pPr>
            <a:r>
              <a:rPr sz="2744" spc="-5" dirty="0">
                <a:solidFill>
                  <a:srgbClr val="FFFFFF"/>
                </a:solidFill>
                <a:cs typeface="Microsoft Uighur"/>
              </a:rPr>
              <a:t>Rain</a:t>
            </a:r>
            <a:endParaRPr sz="2744" dirty="0">
              <a:solidFill>
                <a:srgbClr val="005CB9"/>
              </a:solidFill>
              <a:cs typeface="Microsoft Uighur"/>
            </a:endParaRPr>
          </a:p>
        </p:txBody>
      </p:sp>
      <p:graphicFrame>
        <p:nvGraphicFramePr>
          <p:cNvPr id="7" name="object 7"/>
          <p:cNvGraphicFramePr>
            <a:graphicFrameLocks noGrp="1"/>
          </p:cNvGraphicFramePr>
          <p:nvPr>
            <p:extLst/>
          </p:nvPr>
        </p:nvGraphicFramePr>
        <p:xfrm>
          <a:off x="8126346" y="3522104"/>
          <a:ext cx="3824861" cy="159354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940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39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59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13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96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47232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ay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43204">
                        <a:lnSpc>
                          <a:spcPct val="10000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Outlook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7747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umidity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048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ind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39700">
                        <a:lnSpc>
                          <a:spcPct val="10000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Play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510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4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43204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Rain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747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igh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0480">
                        <a:lnSpc>
                          <a:spcPct val="100000"/>
                        </a:lnSpc>
                      </a:pPr>
                      <a:r>
                        <a:rPr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eak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9700">
                        <a:lnSpc>
                          <a:spcPct val="100000"/>
                        </a:lnSpc>
                      </a:pPr>
                      <a:r>
                        <a:rPr sz="1600" spc="-4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936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5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43204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Rain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747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rmal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0480">
                        <a:lnSpc>
                          <a:spcPct val="100000"/>
                        </a:lnSpc>
                      </a:pPr>
                      <a:r>
                        <a:rPr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eak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9700">
                        <a:lnSpc>
                          <a:spcPct val="100000"/>
                        </a:lnSpc>
                      </a:pPr>
                      <a:r>
                        <a:rPr sz="1600" spc="-4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606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6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43204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Rain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747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rmal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0480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trong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970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936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10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43204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Rain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747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rmal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0480">
                        <a:lnSpc>
                          <a:spcPct val="100000"/>
                        </a:lnSpc>
                      </a:pPr>
                      <a:r>
                        <a:rPr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eak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9700">
                        <a:lnSpc>
                          <a:spcPct val="100000"/>
                        </a:lnSpc>
                      </a:pPr>
                      <a:r>
                        <a:rPr sz="1600" spc="-4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7329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14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43204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Rain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747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igh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0480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trong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970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object 8"/>
          <p:cNvSpPr/>
          <p:nvPr/>
        </p:nvSpPr>
        <p:spPr>
          <a:xfrm>
            <a:off x="5656702" y="1888021"/>
            <a:ext cx="109529" cy="1085954"/>
          </a:xfrm>
          <a:custGeom>
            <a:avLst/>
            <a:gdLst/>
            <a:ahLst/>
            <a:cxnLst/>
            <a:rect l="l" t="t" r="r" b="b"/>
            <a:pathLst>
              <a:path w="111760" h="1108075">
                <a:moveTo>
                  <a:pt x="11049" y="1000887"/>
                </a:moveTo>
                <a:lnTo>
                  <a:pt x="6350" y="1003680"/>
                </a:lnTo>
                <a:lnTo>
                  <a:pt x="1524" y="1006347"/>
                </a:lnTo>
                <a:lnTo>
                  <a:pt x="0" y="1012443"/>
                </a:lnTo>
                <a:lnTo>
                  <a:pt x="2793" y="1017142"/>
                </a:lnTo>
                <a:lnTo>
                  <a:pt x="55752" y="1108075"/>
                </a:lnTo>
                <a:lnTo>
                  <a:pt x="67217" y="1088389"/>
                </a:lnTo>
                <a:lnTo>
                  <a:pt x="45847" y="1088389"/>
                </a:lnTo>
                <a:lnTo>
                  <a:pt x="45847" y="1051868"/>
                </a:lnTo>
                <a:lnTo>
                  <a:pt x="19812" y="1007237"/>
                </a:lnTo>
                <a:lnTo>
                  <a:pt x="17145" y="1002538"/>
                </a:lnTo>
                <a:lnTo>
                  <a:pt x="11049" y="1000887"/>
                </a:lnTo>
                <a:close/>
              </a:path>
              <a:path w="111760" h="1108075">
                <a:moveTo>
                  <a:pt x="45847" y="1051868"/>
                </a:moveTo>
                <a:lnTo>
                  <a:pt x="45847" y="1088389"/>
                </a:lnTo>
                <a:lnTo>
                  <a:pt x="65659" y="1088389"/>
                </a:lnTo>
                <a:lnTo>
                  <a:pt x="65659" y="1083437"/>
                </a:lnTo>
                <a:lnTo>
                  <a:pt x="47243" y="1083437"/>
                </a:lnTo>
                <a:lnTo>
                  <a:pt x="55752" y="1068850"/>
                </a:lnTo>
                <a:lnTo>
                  <a:pt x="45847" y="1051868"/>
                </a:lnTo>
                <a:close/>
              </a:path>
              <a:path w="111760" h="1108075">
                <a:moveTo>
                  <a:pt x="100457" y="1000887"/>
                </a:moveTo>
                <a:lnTo>
                  <a:pt x="94361" y="1002538"/>
                </a:lnTo>
                <a:lnTo>
                  <a:pt x="91693" y="1007237"/>
                </a:lnTo>
                <a:lnTo>
                  <a:pt x="65659" y="1051868"/>
                </a:lnTo>
                <a:lnTo>
                  <a:pt x="65659" y="1088389"/>
                </a:lnTo>
                <a:lnTo>
                  <a:pt x="67217" y="1088389"/>
                </a:lnTo>
                <a:lnTo>
                  <a:pt x="108712" y="1017142"/>
                </a:lnTo>
                <a:lnTo>
                  <a:pt x="111505" y="1012443"/>
                </a:lnTo>
                <a:lnTo>
                  <a:pt x="109982" y="1006347"/>
                </a:lnTo>
                <a:lnTo>
                  <a:pt x="105155" y="1003680"/>
                </a:lnTo>
                <a:lnTo>
                  <a:pt x="100457" y="1000887"/>
                </a:lnTo>
                <a:close/>
              </a:path>
              <a:path w="111760" h="1108075">
                <a:moveTo>
                  <a:pt x="55752" y="1068850"/>
                </a:moveTo>
                <a:lnTo>
                  <a:pt x="47243" y="1083437"/>
                </a:lnTo>
                <a:lnTo>
                  <a:pt x="64262" y="1083437"/>
                </a:lnTo>
                <a:lnTo>
                  <a:pt x="55752" y="1068850"/>
                </a:lnTo>
                <a:close/>
              </a:path>
              <a:path w="111760" h="1108075">
                <a:moveTo>
                  <a:pt x="65659" y="1051868"/>
                </a:moveTo>
                <a:lnTo>
                  <a:pt x="55752" y="1068850"/>
                </a:lnTo>
                <a:lnTo>
                  <a:pt x="64262" y="1083437"/>
                </a:lnTo>
                <a:lnTo>
                  <a:pt x="65659" y="1083437"/>
                </a:lnTo>
                <a:lnTo>
                  <a:pt x="65659" y="1051868"/>
                </a:lnTo>
                <a:close/>
              </a:path>
              <a:path w="111760" h="1108075">
                <a:moveTo>
                  <a:pt x="65659" y="0"/>
                </a:moveTo>
                <a:lnTo>
                  <a:pt x="45847" y="0"/>
                </a:lnTo>
                <a:lnTo>
                  <a:pt x="45847" y="1051868"/>
                </a:lnTo>
                <a:lnTo>
                  <a:pt x="55752" y="1068850"/>
                </a:lnTo>
                <a:lnTo>
                  <a:pt x="65659" y="1051868"/>
                </a:lnTo>
                <a:lnTo>
                  <a:pt x="65659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5CB9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1869368" y="1842689"/>
            <a:ext cx="3847822" cy="1122671"/>
          </a:xfrm>
          <a:custGeom>
            <a:avLst/>
            <a:gdLst/>
            <a:ahLst/>
            <a:cxnLst/>
            <a:rect l="l" t="t" r="r" b="b"/>
            <a:pathLst>
              <a:path w="3926204" h="1145539">
                <a:moveTo>
                  <a:pt x="83058" y="1037843"/>
                </a:moveTo>
                <a:lnTo>
                  <a:pt x="76835" y="1037970"/>
                </a:lnTo>
                <a:lnTo>
                  <a:pt x="0" y="1117600"/>
                </a:lnTo>
                <a:lnTo>
                  <a:pt x="101854" y="1143889"/>
                </a:lnTo>
                <a:lnTo>
                  <a:pt x="107061" y="1145285"/>
                </a:lnTo>
                <a:lnTo>
                  <a:pt x="112522" y="1142110"/>
                </a:lnTo>
                <a:lnTo>
                  <a:pt x="113918" y="1136777"/>
                </a:lnTo>
                <a:lnTo>
                  <a:pt x="115188" y="1131442"/>
                </a:lnTo>
                <a:lnTo>
                  <a:pt x="112013" y="1126108"/>
                </a:lnTo>
                <a:lnTo>
                  <a:pt x="95509" y="1121790"/>
                </a:lnTo>
                <a:lnTo>
                  <a:pt x="21590" y="1121790"/>
                </a:lnTo>
                <a:lnTo>
                  <a:pt x="16129" y="1102740"/>
                </a:lnTo>
                <a:lnTo>
                  <a:pt x="51451" y="1092764"/>
                </a:lnTo>
                <a:lnTo>
                  <a:pt x="91059" y="1051687"/>
                </a:lnTo>
                <a:lnTo>
                  <a:pt x="90931" y="1045337"/>
                </a:lnTo>
                <a:lnTo>
                  <a:pt x="86994" y="1041653"/>
                </a:lnTo>
                <a:lnTo>
                  <a:pt x="83058" y="1037843"/>
                </a:lnTo>
                <a:close/>
              </a:path>
              <a:path w="3926204" h="1145539">
                <a:moveTo>
                  <a:pt x="51451" y="1092764"/>
                </a:moveTo>
                <a:lnTo>
                  <a:pt x="16129" y="1102740"/>
                </a:lnTo>
                <a:lnTo>
                  <a:pt x="21590" y="1121790"/>
                </a:lnTo>
                <a:lnTo>
                  <a:pt x="31032" y="1119123"/>
                </a:lnTo>
                <a:lnTo>
                  <a:pt x="26035" y="1119123"/>
                </a:lnTo>
                <a:lnTo>
                  <a:pt x="21336" y="1102614"/>
                </a:lnTo>
                <a:lnTo>
                  <a:pt x="41954" y="1102614"/>
                </a:lnTo>
                <a:lnTo>
                  <a:pt x="51451" y="1092764"/>
                </a:lnTo>
                <a:close/>
              </a:path>
              <a:path w="3926204" h="1145539">
                <a:moveTo>
                  <a:pt x="56916" y="1111813"/>
                </a:moveTo>
                <a:lnTo>
                  <a:pt x="21590" y="1121790"/>
                </a:lnTo>
                <a:lnTo>
                  <a:pt x="95509" y="1121790"/>
                </a:lnTo>
                <a:lnTo>
                  <a:pt x="56916" y="1111813"/>
                </a:lnTo>
                <a:close/>
              </a:path>
              <a:path w="3926204" h="1145539">
                <a:moveTo>
                  <a:pt x="21336" y="1102614"/>
                </a:moveTo>
                <a:lnTo>
                  <a:pt x="26035" y="1119123"/>
                </a:lnTo>
                <a:lnTo>
                  <a:pt x="37839" y="1106880"/>
                </a:lnTo>
                <a:lnTo>
                  <a:pt x="21336" y="1102614"/>
                </a:lnTo>
                <a:close/>
              </a:path>
              <a:path w="3926204" h="1145539">
                <a:moveTo>
                  <a:pt x="37839" y="1106880"/>
                </a:moveTo>
                <a:lnTo>
                  <a:pt x="26035" y="1119123"/>
                </a:lnTo>
                <a:lnTo>
                  <a:pt x="31032" y="1119123"/>
                </a:lnTo>
                <a:lnTo>
                  <a:pt x="56916" y="1111813"/>
                </a:lnTo>
                <a:lnTo>
                  <a:pt x="37839" y="1106880"/>
                </a:lnTo>
                <a:close/>
              </a:path>
              <a:path w="3926204" h="1145539">
                <a:moveTo>
                  <a:pt x="3920490" y="0"/>
                </a:moveTo>
                <a:lnTo>
                  <a:pt x="51451" y="1092764"/>
                </a:lnTo>
                <a:lnTo>
                  <a:pt x="37839" y="1106880"/>
                </a:lnTo>
                <a:lnTo>
                  <a:pt x="56916" y="1111813"/>
                </a:lnTo>
                <a:lnTo>
                  <a:pt x="3925824" y="19050"/>
                </a:lnTo>
                <a:lnTo>
                  <a:pt x="3920490" y="0"/>
                </a:lnTo>
                <a:close/>
              </a:path>
              <a:path w="3926204" h="1145539">
                <a:moveTo>
                  <a:pt x="41954" y="1102614"/>
                </a:moveTo>
                <a:lnTo>
                  <a:pt x="21336" y="1102614"/>
                </a:lnTo>
                <a:lnTo>
                  <a:pt x="37839" y="1106880"/>
                </a:lnTo>
                <a:lnTo>
                  <a:pt x="41954" y="1102614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5CB9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11466" y="1842565"/>
            <a:ext cx="4312699" cy="1125782"/>
          </a:xfrm>
          <a:custGeom>
            <a:avLst/>
            <a:gdLst/>
            <a:ahLst/>
            <a:cxnLst/>
            <a:rect l="l" t="t" r="r" b="b"/>
            <a:pathLst>
              <a:path w="4400550" h="1148714">
                <a:moveTo>
                  <a:pt x="4343134" y="1113558"/>
                </a:moveTo>
                <a:lnTo>
                  <a:pt x="4288282" y="1129411"/>
                </a:lnTo>
                <a:lnTo>
                  <a:pt x="4285233" y="1134872"/>
                </a:lnTo>
                <a:lnTo>
                  <a:pt x="4286758" y="1140079"/>
                </a:lnTo>
                <a:lnTo>
                  <a:pt x="4288282" y="1145413"/>
                </a:lnTo>
                <a:lnTo>
                  <a:pt x="4293743" y="1148461"/>
                </a:lnTo>
                <a:lnTo>
                  <a:pt x="4383466" y="1122553"/>
                </a:lnTo>
                <a:lnTo>
                  <a:pt x="4378833" y="1122553"/>
                </a:lnTo>
                <a:lnTo>
                  <a:pt x="4343134" y="1113558"/>
                </a:lnTo>
                <a:close/>
              </a:path>
              <a:path w="4400550" h="1148714">
                <a:moveTo>
                  <a:pt x="4361981" y="1108105"/>
                </a:moveTo>
                <a:lnTo>
                  <a:pt x="4343134" y="1113558"/>
                </a:lnTo>
                <a:lnTo>
                  <a:pt x="4378833" y="1122553"/>
                </a:lnTo>
                <a:lnTo>
                  <a:pt x="4379472" y="1120013"/>
                </a:lnTo>
                <a:lnTo>
                  <a:pt x="4374133" y="1120013"/>
                </a:lnTo>
                <a:lnTo>
                  <a:pt x="4361981" y="1108105"/>
                </a:lnTo>
                <a:close/>
              </a:path>
              <a:path w="4400550" h="1148714">
                <a:moveTo>
                  <a:pt x="4321048" y="1040257"/>
                </a:moveTo>
                <a:lnTo>
                  <a:pt x="4314825" y="1040384"/>
                </a:lnTo>
                <a:lnTo>
                  <a:pt x="4310888" y="1044194"/>
                </a:lnTo>
                <a:lnTo>
                  <a:pt x="4307078" y="1048131"/>
                </a:lnTo>
                <a:lnTo>
                  <a:pt x="4307205" y="1054354"/>
                </a:lnTo>
                <a:lnTo>
                  <a:pt x="4311142" y="1058291"/>
                </a:lnTo>
                <a:lnTo>
                  <a:pt x="4347979" y="1094385"/>
                </a:lnTo>
                <a:lnTo>
                  <a:pt x="4383658" y="1103376"/>
                </a:lnTo>
                <a:lnTo>
                  <a:pt x="4378833" y="1122553"/>
                </a:lnTo>
                <a:lnTo>
                  <a:pt x="4383466" y="1122553"/>
                </a:lnTo>
                <a:lnTo>
                  <a:pt x="4400169" y="1117727"/>
                </a:lnTo>
                <a:lnTo>
                  <a:pt x="4324984" y="1044067"/>
                </a:lnTo>
                <a:lnTo>
                  <a:pt x="4321048" y="1040257"/>
                </a:lnTo>
                <a:close/>
              </a:path>
              <a:path w="4400550" h="1148714">
                <a:moveTo>
                  <a:pt x="4378325" y="1103376"/>
                </a:moveTo>
                <a:lnTo>
                  <a:pt x="4361981" y="1108105"/>
                </a:lnTo>
                <a:lnTo>
                  <a:pt x="4374133" y="1120013"/>
                </a:lnTo>
                <a:lnTo>
                  <a:pt x="4378325" y="1103376"/>
                </a:lnTo>
                <a:close/>
              </a:path>
              <a:path w="4400550" h="1148714">
                <a:moveTo>
                  <a:pt x="4383658" y="1103376"/>
                </a:moveTo>
                <a:lnTo>
                  <a:pt x="4378325" y="1103376"/>
                </a:lnTo>
                <a:lnTo>
                  <a:pt x="4374133" y="1120013"/>
                </a:lnTo>
                <a:lnTo>
                  <a:pt x="4379472" y="1120013"/>
                </a:lnTo>
                <a:lnTo>
                  <a:pt x="4383658" y="1103376"/>
                </a:lnTo>
                <a:close/>
              </a:path>
              <a:path w="4400550" h="1148714">
                <a:moveTo>
                  <a:pt x="4825" y="0"/>
                </a:moveTo>
                <a:lnTo>
                  <a:pt x="0" y="19304"/>
                </a:lnTo>
                <a:lnTo>
                  <a:pt x="4343134" y="1113558"/>
                </a:lnTo>
                <a:lnTo>
                  <a:pt x="4361981" y="1108105"/>
                </a:lnTo>
                <a:lnTo>
                  <a:pt x="4347979" y="1094385"/>
                </a:lnTo>
                <a:lnTo>
                  <a:pt x="4825" y="0"/>
                </a:lnTo>
                <a:close/>
              </a:path>
              <a:path w="4400550" h="1148714">
                <a:moveTo>
                  <a:pt x="4347979" y="1094385"/>
                </a:moveTo>
                <a:lnTo>
                  <a:pt x="4361981" y="1108105"/>
                </a:lnTo>
                <a:lnTo>
                  <a:pt x="4378325" y="1103376"/>
                </a:lnTo>
                <a:lnTo>
                  <a:pt x="4383658" y="1103376"/>
                </a:lnTo>
                <a:lnTo>
                  <a:pt x="4347979" y="1094385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5CB9"/>
              </a:solidFill>
            </a:endParaRPr>
          </a:p>
        </p:txBody>
      </p:sp>
      <p:graphicFrame>
        <p:nvGraphicFramePr>
          <p:cNvPr id="11" name="object 11"/>
          <p:cNvGraphicFramePr>
            <a:graphicFrameLocks noGrp="1"/>
          </p:cNvGraphicFramePr>
          <p:nvPr>
            <p:extLst/>
          </p:nvPr>
        </p:nvGraphicFramePr>
        <p:xfrm>
          <a:off x="4043551" y="3522104"/>
          <a:ext cx="3824265" cy="16363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982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2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5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56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21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06917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ay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33679">
                        <a:lnSpc>
                          <a:spcPct val="10000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Outlook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937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umidity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032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ind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30175">
                        <a:lnSpc>
                          <a:spcPct val="10000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Play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0915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3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33679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Overcast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9370">
                        <a:lnSpc>
                          <a:spcPct val="100000"/>
                        </a:lnSpc>
                      </a:pPr>
                      <a:r>
                        <a:rPr sz="16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igh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0320">
                        <a:lnSpc>
                          <a:spcPct val="100000"/>
                        </a:lnSpc>
                      </a:pPr>
                      <a:r>
                        <a:rPr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eak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0175">
                        <a:lnSpc>
                          <a:spcPct val="100000"/>
                        </a:lnSpc>
                      </a:pPr>
                      <a:r>
                        <a:rPr sz="1600" spc="-4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0915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7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33679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Overcast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937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rmal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0320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trong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0175">
                        <a:lnSpc>
                          <a:spcPct val="100000"/>
                        </a:lnSpc>
                      </a:pPr>
                      <a:r>
                        <a:rPr sz="1600" spc="-4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0915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12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33679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Overcast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9370">
                        <a:lnSpc>
                          <a:spcPct val="100000"/>
                        </a:lnSpc>
                      </a:pPr>
                      <a:r>
                        <a:rPr sz="16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igh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0320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trong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0175">
                        <a:lnSpc>
                          <a:spcPct val="100000"/>
                        </a:lnSpc>
                      </a:pPr>
                      <a:r>
                        <a:rPr sz="1600" spc="-4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6660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13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33679">
                        <a:lnSpc>
                          <a:spcPct val="100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Overcast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9370">
                        <a:lnSpc>
                          <a:spcPct val="10000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rmal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0320">
                        <a:lnSpc>
                          <a:spcPct val="100000"/>
                        </a:lnSpc>
                      </a:pPr>
                      <a:r>
                        <a:rPr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eak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0175">
                        <a:lnSpc>
                          <a:spcPct val="100000"/>
                        </a:lnSpc>
                      </a:pPr>
                      <a:r>
                        <a:rPr sz="1600" spc="-4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" name="object 12"/>
          <p:cNvSpPr txBox="1"/>
          <p:nvPr/>
        </p:nvSpPr>
        <p:spPr>
          <a:xfrm>
            <a:off x="1158959" y="5320188"/>
            <a:ext cx="136288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600" dirty="0">
                <a:solidFill>
                  <a:srgbClr val="005CB9"/>
                </a:solidFill>
                <a:cs typeface="Calibri"/>
              </a:rPr>
              <a:t>2 </a:t>
            </a:r>
            <a:r>
              <a:rPr sz="1600" spc="-10" dirty="0">
                <a:solidFill>
                  <a:srgbClr val="005CB9"/>
                </a:solidFill>
                <a:cs typeface="Calibri"/>
              </a:rPr>
              <a:t>yes </a:t>
            </a:r>
            <a:r>
              <a:rPr sz="1600" dirty="0">
                <a:solidFill>
                  <a:srgbClr val="005CB9"/>
                </a:solidFill>
                <a:cs typeface="Calibri"/>
              </a:rPr>
              <a:t>and 3</a:t>
            </a:r>
            <a:r>
              <a:rPr sz="1600" spc="-59" dirty="0">
                <a:solidFill>
                  <a:srgbClr val="005CB9"/>
                </a:solidFill>
                <a:cs typeface="Calibri"/>
              </a:rPr>
              <a:t> </a:t>
            </a:r>
            <a:r>
              <a:rPr sz="1600" dirty="0">
                <a:solidFill>
                  <a:srgbClr val="005CB9"/>
                </a:solidFill>
                <a:cs typeface="Calibri"/>
              </a:rPr>
              <a:t>No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9372293" y="5320188"/>
            <a:ext cx="136288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600" dirty="0">
                <a:solidFill>
                  <a:srgbClr val="005CB9"/>
                </a:solidFill>
                <a:cs typeface="Calibri"/>
              </a:rPr>
              <a:t>3 </a:t>
            </a:r>
            <a:r>
              <a:rPr sz="1600" spc="-10" dirty="0">
                <a:solidFill>
                  <a:srgbClr val="005CB9"/>
                </a:solidFill>
                <a:cs typeface="Calibri"/>
              </a:rPr>
              <a:t>yes </a:t>
            </a:r>
            <a:r>
              <a:rPr sz="1600" dirty="0">
                <a:solidFill>
                  <a:srgbClr val="005CB9"/>
                </a:solidFill>
                <a:cs typeface="Calibri"/>
              </a:rPr>
              <a:t>and 2</a:t>
            </a:r>
            <a:r>
              <a:rPr sz="1600" spc="-59" dirty="0">
                <a:solidFill>
                  <a:srgbClr val="005CB9"/>
                </a:solidFill>
                <a:cs typeface="Calibri"/>
              </a:rPr>
              <a:t> </a:t>
            </a:r>
            <a:r>
              <a:rPr sz="1600" dirty="0">
                <a:solidFill>
                  <a:srgbClr val="005CB9"/>
                </a:solidFill>
                <a:cs typeface="Calibri"/>
              </a:rPr>
              <a:t>No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5076745" y="5320188"/>
            <a:ext cx="136288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600" dirty="0">
                <a:solidFill>
                  <a:srgbClr val="005CB9"/>
                </a:solidFill>
                <a:cs typeface="Calibri"/>
              </a:rPr>
              <a:t>4 </a:t>
            </a:r>
            <a:r>
              <a:rPr sz="1600" spc="-10" dirty="0">
                <a:solidFill>
                  <a:srgbClr val="005CB9"/>
                </a:solidFill>
                <a:cs typeface="Calibri"/>
              </a:rPr>
              <a:t>yes </a:t>
            </a:r>
            <a:r>
              <a:rPr sz="1600" dirty="0">
                <a:solidFill>
                  <a:srgbClr val="005CB9"/>
                </a:solidFill>
                <a:cs typeface="Calibri"/>
              </a:rPr>
              <a:t>and 0</a:t>
            </a:r>
            <a:r>
              <a:rPr sz="1600" spc="-59" dirty="0">
                <a:solidFill>
                  <a:srgbClr val="005CB9"/>
                </a:solidFill>
                <a:cs typeface="Calibri"/>
              </a:rPr>
              <a:t> </a:t>
            </a:r>
            <a:r>
              <a:rPr sz="1600" dirty="0">
                <a:solidFill>
                  <a:srgbClr val="005CB9"/>
                </a:solidFill>
                <a:cs typeface="Calibri"/>
              </a:rPr>
              <a:t>No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5076744" y="5736377"/>
            <a:ext cx="1274518" cy="306031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34228" rIns="0" bIns="0" rtlCol="0" anchor="ctr">
            <a:spAutoFit/>
          </a:bodyPr>
          <a:lstStyle/>
          <a:p>
            <a:pPr marL="90234" algn="ctr" defTabSz="896112">
              <a:spcBef>
                <a:spcPts val="270"/>
              </a:spcBef>
            </a:pPr>
            <a:r>
              <a:rPr sz="1764" spc="-10" dirty="0">
                <a:solidFill>
                  <a:srgbClr val="FFFFFF"/>
                </a:solidFill>
                <a:cs typeface="Calibri"/>
              </a:rPr>
              <a:t>Pure</a:t>
            </a:r>
            <a:r>
              <a:rPr sz="1764" spc="-83" dirty="0">
                <a:solidFill>
                  <a:srgbClr val="FFFFFF"/>
                </a:solidFill>
                <a:cs typeface="Calibri"/>
              </a:rPr>
              <a:t> </a:t>
            </a:r>
            <a:r>
              <a:rPr sz="1764" spc="-5" dirty="0">
                <a:solidFill>
                  <a:srgbClr val="FFFFFF"/>
                </a:solidFill>
                <a:cs typeface="Calibri"/>
              </a:rPr>
              <a:t>Subset</a:t>
            </a:r>
            <a:endParaRPr sz="1764" dirty="0">
              <a:solidFill>
                <a:srgbClr val="005CB9"/>
              </a:solidFill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158959" y="5736377"/>
            <a:ext cx="1287586" cy="305403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33605" rIns="0" bIns="0" rtlCol="0" anchor="ctr">
            <a:spAutoFit/>
          </a:bodyPr>
          <a:lstStyle/>
          <a:p>
            <a:pPr marL="88367" algn="ctr" defTabSz="896112">
              <a:spcBef>
                <a:spcPts val="265"/>
              </a:spcBef>
            </a:pPr>
            <a:r>
              <a:rPr sz="1764" spc="-5" dirty="0">
                <a:solidFill>
                  <a:srgbClr val="FFFFFF"/>
                </a:solidFill>
                <a:cs typeface="Calibri"/>
              </a:rPr>
              <a:t>Split</a:t>
            </a:r>
            <a:r>
              <a:rPr sz="1764" spc="-83" dirty="0">
                <a:solidFill>
                  <a:srgbClr val="FFFFFF"/>
                </a:solidFill>
                <a:cs typeface="Calibri"/>
              </a:rPr>
              <a:t> </a:t>
            </a:r>
            <a:r>
              <a:rPr sz="1764" spc="-5" dirty="0">
                <a:solidFill>
                  <a:srgbClr val="FFFFFF"/>
                </a:solidFill>
                <a:cs typeface="Calibri"/>
              </a:rPr>
              <a:t>further</a:t>
            </a:r>
            <a:endParaRPr sz="1764" dirty="0">
              <a:solidFill>
                <a:srgbClr val="005CB9"/>
              </a:solidFill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445727" y="5736377"/>
            <a:ext cx="1289453" cy="305403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33605" rIns="0" bIns="0" rtlCol="0" anchor="ctr">
            <a:spAutoFit/>
          </a:bodyPr>
          <a:lstStyle/>
          <a:p>
            <a:pPr marL="90234" algn="ctr" defTabSz="896112">
              <a:spcBef>
                <a:spcPts val="265"/>
              </a:spcBef>
            </a:pPr>
            <a:r>
              <a:rPr sz="1764" spc="-5" dirty="0">
                <a:solidFill>
                  <a:srgbClr val="FFFFFF"/>
                </a:solidFill>
                <a:cs typeface="Calibri"/>
              </a:rPr>
              <a:t>Split</a:t>
            </a:r>
            <a:r>
              <a:rPr sz="1764" spc="-69" dirty="0">
                <a:solidFill>
                  <a:srgbClr val="FFFFFF"/>
                </a:solidFill>
                <a:cs typeface="Calibri"/>
              </a:rPr>
              <a:t> </a:t>
            </a:r>
            <a:r>
              <a:rPr sz="1764" spc="-5" dirty="0">
                <a:solidFill>
                  <a:srgbClr val="FFFFFF"/>
                </a:solidFill>
                <a:cs typeface="Calibri"/>
              </a:rPr>
              <a:t>further</a:t>
            </a:r>
            <a:endParaRPr sz="1764">
              <a:solidFill>
                <a:srgbClr val="005CB9"/>
              </a:solidFill>
              <a:cs typeface="Calibri"/>
            </a:endParaRPr>
          </a:p>
        </p:txBody>
      </p:sp>
      <p:graphicFrame>
        <p:nvGraphicFramePr>
          <p:cNvPr id="18" name="object 18"/>
          <p:cNvGraphicFramePr>
            <a:graphicFrameLocks noGrp="1"/>
          </p:cNvGraphicFramePr>
          <p:nvPr>
            <p:extLst/>
          </p:nvPr>
        </p:nvGraphicFramePr>
        <p:xfrm>
          <a:off x="393114" y="3523463"/>
          <a:ext cx="3400201" cy="16349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14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04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50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69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63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5308">
                <a:tc>
                  <a:txBody>
                    <a:bodyPr/>
                    <a:lstStyle/>
                    <a:p>
                      <a:pPr marL="22225">
                        <a:lnSpc>
                          <a:spcPts val="2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ay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6995">
                        <a:lnSpc>
                          <a:spcPts val="200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Outlook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381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85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umidity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  <a:lnR w="381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00"/>
                        </a:lnSpc>
                      </a:pPr>
                      <a:r>
                        <a:rPr lang="en-US"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ind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40335">
                        <a:lnSpc>
                          <a:spcPts val="2000"/>
                        </a:lnSpc>
                      </a:pPr>
                      <a:r>
                        <a:rPr sz="16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Play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087">
                <a:tc>
                  <a:txBody>
                    <a:bodyPr/>
                    <a:lstStyle/>
                    <a:p>
                      <a:pPr marL="22225">
                        <a:lnSpc>
                          <a:spcPts val="193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1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6995">
                        <a:lnSpc>
                          <a:spcPts val="193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unny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3810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93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igh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  <a:lnR w="3810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30"/>
                        </a:lnSpc>
                      </a:pPr>
                      <a:r>
                        <a:rPr lang="en-US"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eak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140335">
                        <a:lnSpc>
                          <a:spcPts val="1930"/>
                        </a:lnSpc>
                      </a:pPr>
                      <a:r>
                        <a:rPr sz="16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029">
                <a:tc>
                  <a:txBody>
                    <a:bodyPr/>
                    <a:lstStyle/>
                    <a:p>
                      <a:pPr marL="22225">
                        <a:lnSpc>
                          <a:spcPts val="193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2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6995">
                        <a:lnSpc>
                          <a:spcPts val="193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unny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3810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93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igh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  <a:lnR w="3810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30"/>
                        </a:lnSpc>
                      </a:pPr>
                      <a:r>
                        <a:rPr lang="en-US"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trong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140335">
                        <a:lnSpc>
                          <a:spcPts val="1930"/>
                        </a:lnSpc>
                      </a:pPr>
                      <a:r>
                        <a:rPr sz="16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6754">
                <a:tc>
                  <a:txBody>
                    <a:bodyPr/>
                    <a:lstStyle/>
                    <a:p>
                      <a:pPr marL="22225">
                        <a:lnSpc>
                          <a:spcPts val="1925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8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6995">
                        <a:lnSpc>
                          <a:spcPts val="1925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unny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3810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925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High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  <a:lnR w="3810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25"/>
                        </a:lnSpc>
                      </a:pPr>
                      <a:r>
                        <a:rPr lang="en-US"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eak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140335">
                        <a:lnSpc>
                          <a:spcPts val="1925"/>
                        </a:lnSpc>
                      </a:pPr>
                      <a:r>
                        <a:rPr sz="16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7167">
                <a:tc>
                  <a:txBody>
                    <a:bodyPr/>
                    <a:lstStyle/>
                    <a:p>
                      <a:pPr marL="22225">
                        <a:lnSpc>
                          <a:spcPts val="193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9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6995">
                        <a:lnSpc>
                          <a:spcPts val="193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unny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3810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93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rmal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  <a:lnR w="3810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30"/>
                        </a:lnSpc>
                      </a:pPr>
                      <a:r>
                        <a:rPr lang="en-US"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2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Weak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140335">
                        <a:lnSpc>
                          <a:spcPts val="1930"/>
                        </a:lnSpc>
                      </a:pPr>
                      <a:r>
                        <a:rPr sz="1600" spc="-4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160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618">
                <a:tc>
                  <a:txBody>
                    <a:bodyPr/>
                    <a:lstStyle/>
                    <a:p>
                      <a:pPr marL="22225">
                        <a:lnSpc>
                          <a:spcPts val="1930"/>
                        </a:lnSpc>
                      </a:pPr>
                      <a:r>
                        <a:rPr sz="1600" spc="-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D11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6995">
                        <a:lnSpc>
                          <a:spcPts val="1930"/>
                        </a:lnSpc>
                      </a:pP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unny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38100">
                      <a:solidFill>
                        <a:srgbClr val="000000"/>
                      </a:solidFill>
                      <a:prstDash val="soli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930"/>
                        </a:lnSpc>
                      </a:pPr>
                      <a:r>
                        <a:rPr sz="16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Normal</a:t>
                      </a: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  <a:lnR w="38100">
                      <a:solidFill>
                        <a:srgbClr val="000000"/>
                      </a:solidFill>
                      <a:prstDash val="soli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30"/>
                        </a:lnSpc>
                      </a:pPr>
                      <a:r>
                        <a:rPr lang="en-US"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trong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000000"/>
                      </a:solidFill>
                      <a:prstDash val="soli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0335">
                        <a:lnSpc>
                          <a:spcPts val="1930"/>
                        </a:lnSpc>
                      </a:pPr>
                      <a:r>
                        <a:rPr sz="1600" spc="-4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Yes</a:t>
                      </a:r>
                      <a:endParaRPr sz="16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2" name="Title 5"/>
          <p:cNvSpPr txBox="1">
            <a:spLocks/>
          </p:cNvSpPr>
          <p:nvPr/>
        </p:nvSpPr>
        <p:spPr bwMode="auto">
          <a:xfrm>
            <a:off x="1017691" y="390087"/>
            <a:ext cx="10843881" cy="697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30000"/>
              </a:spcAft>
              <a:defRPr sz="1683">
                <a:solidFill>
                  <a:srgbClr val="F86B1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5pPr>
            <a:lvl6pPr marL="349682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6pPr>
            <a:lvl7pPr marL="699363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7pPr>
            <a:lvl8pPr marL="1049046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8pPr>
            <a:lvl9pPr marL="1398727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896112"/>
            <a:r>
              <a:rPr lang="en-US" sz="3600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ample (1/4)</a:t>
            </a:r>
          </a:p>
        </p:txBody>
      </p:sp>
    </p:spTree>
    <p:extLst>
      <p:ext uri="{BB962C8B-B14F-4D97-AF65-F5344CB8AC3E}">
        <p14:creationId xmlns:p14="http://schemas.microsoft.com/office/powerpoint/2010/main" val="151922413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32"/>
          <p:cNvSpPr txBox="1">
            <a:spLocks noGrp="1"/>
          </p:cNvSpPr>
          <p:nvPr>
            <p:ph type="sldNum" sz="quarter" idx="12"/>
          </p:nvPr>
        </p:nvSpPr>
        <p:spPr>
          <a:xfrm>
            <a:off x="11231207" y="6567587"/>
            <a:ext cx="495656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24892" defTabSz="896112">
              <a:lnSpc>
                <a:spcPts val="1210"/>
              </a:lnSpc>
            </a:pPr>
            <a:fld id="{81D60167-4931-47E6-BA6A-407CBD079E47}" type="slidenum">
              <a:rPr spc="15" dirty="0">
                <a:solidFill>
                  <a:srgbClr val="464646"/>
                </a:solidFill>
                <a:latin typeface="+mn-lt"/>
              </a:rPr>
              <a:pPr marL="24892" defTabSz="896112">
                <a:lnSpc>
                  <a:spcPts val="1210"/>
                </a:lnSpc>
              </a:pPr>
              <a:t>9</a:t>
            </a:fld>
            <a:endParaRPr spc="15" dirty="0">
              <a:solidFill>
                <a:srgbClr val="464646"/>
              </a:solidFill>
              <a:latin typeface="+mn-lt"/>
            </a:endParaRPr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925944" y="1067486"/>
            <a:ext cx="1653384" cy="444289"/>
          </a:xfrm>
          <a:prstGeom prst="rect">
            <a:avLst/>
          </a:pr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vert="horz" wrap="square" lIns="0" tIns="21781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75921" algn="ctr">
              <a:lnSpc>
                <a:spcPct val="100000"/>
              </a:lnSpc>
              <a:spcBef>
                <a:spcPts val="172"/>
              </a:spcBef>
            </a:pPr>
            <a:r>
              <a:rPr sz="2744" spc="-10" dirty="0">
                <a:solidFill>
                  <a:schemeClr val="bg1"/>
                </a:solidFill>
                <a:latin typeface="+mn-lt"/>
              </a:rPr>
              <a:t>Outlook</a:t>
            </a:r>
            <a:endParaRPr sz="2744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771338" y="1441828"/>
            <a:ext cx="144005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600" dirty="0">
                <a:solidFill>
                  <a:srgbClr val="005CB9"/>
                </a:solidFill>
                <a:cs typeface="Segoe UI Light"/>
              </a:rPr>
              <a:t>9 </a:t>
            </a:r>
            <a:r>
              <a:rPr sz="1600" spc="-5" dirty="0">
                <a:solidFill>
                  <a:srgbClr val="005CB9"/>
                </a:solidFill>
                <a:cs typeface="Segoe UI Light"/>
              </a:rPr>
              <a:t>yes and </a:t>
            </a:r>
            <a:r>
              <a:rPr sz="1600" dirty="0">
                <a:solidFill>
                  <a:srgbClr val="005CB9"/>
                </a:solidFill>
                <a:cs typeface="Segoe UI Light"/>
              </a:rPr>
              <a:t>5</a:t>
            </a:r>
            <a:r>
              <a:rPr sz="1600" spc="-118" dirty="0">
                <a:solidFill>
                  <a:srgbClr val="005CB9"/>
                </a:solidFill>
                <a:cs typeface="Segoe UI Light"/>
              </a:rPr>
              <a:t> </a:t>
            </a:r>
            <a:r>
              <a:rPr sz="1600" dirty="0">
                <a:solidFill>
                  <a:srgbClr val="005CB9"/>
                </a:solidFill>
                <a:cs typeface="Segoe UI Light"/>
              </a:rPr>
              <a:t>No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1393488" y="2488967"/>
            <a:ext cx="999451" cy="392583"/>
          </a:xfrm>
          <a:prstGeom prst="rect">
            <a:avLst/>
          </a:pr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vert="horz" wrap="square" lIns="0" tIns="23026" rIns="0" bIns="0" rtlCol="0" anchor="ctr">
            <a:spAutoFit/>
          </a:bodyPr>
          <a:lstStyle/>
          <a:p>
            <a:pPr marL="75298" algn="ctr" defTabSz="896112">
              <a:spcBef>
                <a:spcPts val="181"/>
              </a:spcBef>
            </a:pPr>
            <a:r>
              <a:rPr sz="2400" spc="-10" dirty="0">
                <a:solidFill>
                  <a:srgbClr val="FFFFFF"/>
                </a:solidFill>
              </a:rPr>
              <a:t>Sunny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4939372" y="2446829"/>
            <a:ext cx="1468682" cy="445536"/>
          </a:xfrm>
          <a:prstGeom prst="rect">
            <a:avLst/>
          </a:pr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vert="horz" wrap="square" lIns="0" tIns="23026" rIns="0" bIns="0" rtlCol="0" anchor="ctr">
            <a:spAutoFit/>
          </a:bodyPr>
          <a:lstStyle/>
          <a:p>
            <a:pPr marL="75921" algn="ctr" defTabSz="896112">
              <a:spcBef>
                <a:spcPts val="181"/>
              </a:spcBef>
            </a:pPr>
            <a:r>
              <a:rPr sz="2744" spc="-15" dirty="0">
                <a:solidFill>
                  <a:srgbClr val="FFFFFF"/>
                </a:solidFill>
                <a:cs typeface="Segoe UI Light"/>
              </a:rPr>
              <a:t>Overcast</a:t>
            </a:r>
            <a:endParaRPr sz="274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9706346" y="2414046"/>
            <a:ext cx="789851" cy="445536"/>
          </a:xfrm>
          <a:prstGeom prst="rect">
            <a:avLst/>
          </a:pr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vert="horz" wrap="square" lIns="0" tIns="23026" rIns="0" bIns="0" rtlCol="0" anchor="ctr">
            <a:spAutoFit/>
          </a:bodyPr>
          <a:lstStyle/>
          <a:p>
            <a:pPr marL="75298" algn="ctr" defTabSz="896112">
              <a:spcBef>
                <a:spcPts val="181"/>
              </a:spcBef>
            </a:pPr>
            <a:r>
              <a:rPr sz="2744" spc="-10" dirty="0">
                <a:solidFill>
                  <a:srgbClr val="FFFFFF"/>
                </a:solidFill>
              </a:rPr>
              <a:t>Rain</a:t>
            </a:r>
          </a:p>
        </p:txBody>
      </p:sp>
      <p:graphicFrame>
        <p:nvGraphicFramePr>
          <p:cNvPr id="8" name="object 8"/>
          <p:cNvGraphicFramePr>
            <a:graphicFrameLocks noGrp="1"/>
          </p:cNvGraphicFramePr>
          <p:nvPr>
            <p:extLst/>
          </p:nvPr>
        </p:nvGraphicFramePr>
        <p:xfrm>
          <a:off x="2225722" y="4841925"/>
          <a:ext cx="1819435" cy="8458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749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4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2427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ind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Play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239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9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143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1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objec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091411"/>
              </p:ext>
            </p:extLst>
          </p:nvPr>
        </p:nvGraphicFramePr>
        <p:xfrm>
          <a:off x="8211394" y="2999230"/>
          <a:ext cx="3889166" cy="219757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58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47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31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96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87680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utlook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umidity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ind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Play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591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Rain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igh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971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Rain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6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Rain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971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0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Rain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4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Rain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igh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object 10"/>
          <p:cNvSpPr/>
          <p:nvPr/>
        </p:nvSpPr>
        <p:spPr>
          <a:xfrm>
            <a:off x="5628907" y="1812548"/>
            <a:ext cx="44806" cy="628821"/>
          </a:xfrm>
          <a:custGeom>
            <a:avLst/>
            <a:gdLst/>
            <a:ahLst/>
            <a:cxnLst/>
            <a:rect l="l" t="t" r="r" b="b"/>
            <a:pathLst>
              <a:path w="111760" h="1108710">
                <a:moveTo>
                  <a:pt x="10667" y="1002538"/>
                </a:moveTo>
                <a:lnTo>
                  <a:pt x="5968" y="1005459"/>
                </a:lnTo>
                <a:lnTo>
                  <a:pt x="1397" y="1008380"/>
                </a:lnTo>
                <a:lnTo>
                  <a:pt x="0" y="1014476"/>
                </a:lnTo>
                <a:lnTo>
                  <a:pt x="2793" y="1019048"/>
                </a:lnTo>
                <a:lnTo>
                  <a:pt x="58547" y="1108329"/>
                </a:lnTo>
                <a:lnTo>
                  <a:pt x="69047" y="1089025"/>
                </a:lnTo>
                <a:lnTo>
                  <a:pt x="48005" y="1089025"/>
                </a:lnTo>
                <a:lnTo>
                  <a:pt x="46901" y="1052185"/>
                </a:lnTo>
                <a:lnTo>
                  <a:pt x="16763" y="1003935"/>
                </a:lnTo>
                <a:lnTo>
                  <a:pt x="10667" y="1002538"/>
                </a:lnTo>
                <a:close/>
              </a:path>
              <a:path w="111760" h="1108710">
                <a:moveTo>
                  <a:pt x="46901" y="1052185"/>
                </a:moveTo>
                <a:lnTo>
                  <a:pt x="48005" y="1089025"/>
                </a:lnTo>
                <a:lnTo>
                  <a:pt x="67817" y="1088389"/>
                </a:lnTo>
                <a:lnTo>
                  <a:pt x="67684" y="1083945"/>
                </a:lnTo>
                <a:lnTo>
                  <a:pt x="49275" y="1083945"/>
                </a:lnTo>
                <a:lnTo>
                  <a:pt x="57407" y="1069005"/>
                </a:lnTo>
                <a:lnTo>
                  <a:pt x="46901" y="1052185"/>
                </a:lnTo>
                <a:close/>
              </a:path>
              <a:path w="111760" h="1108710">
                <a:moveTo>
                  <a:pt x="100075" y="999871"/>
                </a:moveTo>
                <a:lnTo>
                  <a:pt x="93979" y="1001649"/>
                </a:lnTo>
                <a:lnTo>
                  <a:pt x="91439" y="1006475"/>
                </a:lnTo>
                <a:lnTo>
                  <a:pt x="66723" y="1051888"/>
                </a:lnTo>
                <a:lnTo>
                  <a:pt x="67817" y="1088389"/>
                </a:lnTo>
                <a:lnTo>
                  <a:pt x="48005" y="1089025"/>
                </a:lnTo>
                <a:lnTo>
                  <a:pt x="69047" y="1089025"/>
                </a:lnTo>
                <a:lnTo>
                  <a:pt x="108838" y="1015873"/>
                </a:lnTo>
                <a:lnTo>
                  <a:pt x="111378" y="1011047"/>
                </a:lnTo>
                <a:lnTo>
                  <a:pt x="109600" y="1005077"/>
                </a:lnTo>
                <a:lnTo>
                  <a:pt x="104775" y="1002411"/>
                </a:lnTo>
                <a:lnTo>
                  <a:pt x="100075" y="999871"/>
                </a:lnTo>
                <a:close/>
              </a:path>
              <a:path w="111760" h="1108710">
                <a:moveTo>
                  <a:pt x="57407" y="1069005"/>
                </a:moveTo>
                <a:lnTo>
                  <a:pt x="49275" y="1083945"/>
                </a:lnTo>
                <a:lnTo>
                  <a:pt x="66421" y="1083437"/>
                </a:lnTo>
                <a:lnTo>
                  <a:pt x="57407" y="1069005"/>
                </a:lnTo>
                <a:close/>
              </a:path>
              <a:path w="111760" h="1108710">
                <a:moveTo>
                  <a:pt x="66723" y="1051888"/>
                </a:moveTo>
                <a:lnTo>
                  <a:pt x="57407" y="1069005"/>
                </a:lnTo>
                <a:lnTo>
                  <a:pt x="66421" y="1083437"/>
                </a:lnTo>
                <a:lnTo>
                  <a:pt x="49275" y="1083945"/>
                </a:lnTo>
                <a:lnTo>
                  <a:pt x="67684" y="1083945"/>
                </a:lnTo>
                <a:lnTo>
                  <a:pt x="66723" y="1051888"/>
                </a:lnTo>
                <a:close/>
              </a:path>
              <a:path w="111760" h="1108710">
                <a:moveTo>
                  <a:pt x="35178" y="0"/>
                </a:moveTo>
                <a:lnTo>
                  <a:pt x="15366" y="508"/>
                </a:lnTo>
                <a:lnTo>
                  <a:pt x="46901" y="1052185"/>
                </a:lnTo>
                <a:lnTo>
                  <a:pt x="57407" y="1069005"/>
                </a:lnTo>
                <a:lnTo>
                  <a:pt x="66723" y="1051888"/>
                </a:lnTo>
                <a:lnTo>
                  <a:pt x="35178" y="0"/>
                </a:lnTo>
                <a:close/>
              </a:path>
            </a:pathLst>
          </a:custGeom>
          <a:solidFill>
            <a:srgbClr val="7E7E7E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823329" y="1825328"/>
            <a:ext cx="3820441" cy="588718"/>
          </a:xfrm>
          <a:custGeom>
            <a:avLst/>
            <a:gdLst/>
            <a:ahLst/>
            <a:cxnLst/>
            <a:rect l="l" t="t" r="r" b="b"/>
            <a:pathLst>
              <a:path w="3898265" h="600710">
                <a:moveTo>
                  <a:pt x="86868" y="490093"/>
                </a:moveTo>
                <a:lnTo>
                  <a:pt x="0" y="558673"/>
                </a:lnTo>
                <a:lnTo>
                  <a:pt x="102362" y="600456"/>
                </a:lnTo>
                <a:lnTo>
                  <a:pt x="108204" y="598043"/>
                </a:lnTo>
                <a:lnTo>
                  <a:pt x="110236" y="592963"/>
                </a:lnTo>
                <a:lnTo>
                  <a:pt x="112268" y="588010"/>
                </a:lnTo>
                <a:lnTo>
                  <a:pt x="109855" y="582168"/>
                </a:lnTo>
                <a:lnTo>
                  <a:pt x="69378" y="565658"/>
                </a:lnTo>
                <a:lnTo>
                  <a:pt x="20701" y="565658"/>
                </a:lnTo>
                <a:lnTo>
                  <a:pt x="17907" y="546100"/>
                </a:lnTo>
                <a:lnTo>
                  <a:pt x="54286" y="540976"/>
                </a:lnTo>
                <a:lnTo>
                  <a:pt x="94869" y="509016"/>
                </a:lnTo>
                <a:lnTo>
                  <a:pt x="99060" y="505587"/>
                </a:lnTo>
                <a:lnTo>
                  <a:pt x="99822" y="499363"/>
                </a:lnTo>
                <a:lnTo>
                  <a:pt x="93091" y="490855"/>
                </a:lnTo>
                <a:lnTo>
                  <a:pt x="86868" y="490093"/>
                </a:lnTo>
                <a:close/>
              </a:path>
              <a:path w="3898265" h="600710">
                <a:moveTo>
                  <a:pt x="54286" y="540976"/>
                </a:moveTo>
                <a:lnTo>
                  <a:pt x="17907" y="546100"/>
                </a:lnTo>
                <a:lnTo>
                  <a:pt x="20701" y="565658"/>
                </a:lnTo>
                <a:lnTo>
                  <a:pt x="35128" y="563626"/>
                </a:lnTo>
                <a:lnTo>
                  <a:pt x="25527" y="563626"/>
                </a:lnTo>
                <a:lnTo>
                  <a:pt x="23114" y="546735"/>
                </a:lnTo>
                <a:lnTo>
                  <a:pt x="46974" y="546735"/>
                </a:lnTo>
                <a:lnTo>
                  <a:pt x="54286" y="540976"/>
                </a:lnTo>
                <a:close/>
              </a:path>
              <a:path w="3898265" h="600710">
                <a:moveTo>
                  <a:pt x="56909" y="560558"/>
                </a:moveTo>
                <a:lnTo>
                  <a:pt x="20701" y="565658"/>
                </a:lnTo>
                <a:lnTo>
                  <a:pt x="69378" y="565658"/>
                </a:lnTo>
                <a:lnTo>
                  <a:pt x="56909" y="560558"/>
                </a:lnTo>
                <a:close/>
              </a:path>
              <a:path w="3898265" h="600710">
                <a:moveTo>
                  <a:pt x="23114" y="546735"/>
                </a:moveTo>
                <a:lnTo>
                  <a:pt x="25527" y="563626"/>
                </a:lnTo>
                <a:lnTo>
                  <a:pt x="38818" y="553158"/>
                </a:lnTo>
                <a:lnTo>
                  <a:pt x="23114" y="546735"/>
                </a:lnTo>
                <a:close/>
              </a:path>
              <a:path w="3898265" h="600710">
                <a:moveTo>
                  <a:pt x="38818" y="553158"/>
                </a:moveTo>
                <a:lnTo>
                  <a:pt x="25527" y="563626"/>
                </a:lnTo>
                <a:lnTo>
                  <a:pt x="35128" y="563626"/>
                </a:lnTo>
                <a:lnTo>
                  <a:pt x="56909" y="560558"/>
                </a:lnTo>
                <a:lnTo>
                  <a:pt x="38818" y="553158"/>
                </a:lnTo>
                <a:close/>
              </a:path>
              <a:path w="3898265" h="600710">
                <a:moveTo>
                  <a:pt x="3895344" y="0"/>
                </a:moveTo>
                <a:lnTo>
                  <a:pt x="54286" y="540976"/>
                </a:lnTo>
                <a:lnTo>
                  <a:pt x="38818" y="553158"/>
                </a:lnTo>
                <a:lnTo>
                  <a:pt x="56909" y="560558"/>
                </a:lnTo>
                <a:lnTo>
                  <a:pt x="3898011" y="19558"/>
                </a:lnTo>
                <a:lnTo>
                  <a:pt x="3895344" y="0"/>
                </a:lnTo>
                <a:close/>
              </a:path>
              <a:path w="3898265" h="600710">
                <a:moveTo>
                  <a:pt x="46974" y="546735"/>
                </a:moveTo>
                <a:lnTo>
                  <a:pt x="23114" y="546735"/>
                </a:lnTo>
                <a:lnTo>
                  <a:pt x="38818" y="553158"/>
                </a:lnTo>
                <a:lnTo>
                  <a:pt x="46974" y="546735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5CB9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 rot="21114430">
            <a:off x="5701965" y="1512942"/>
            <a:ext cx="4218106" cy="1125160"/>
          </a:xfrm>
          <a:custGeom>
            <a:avLst/>
            <a:gdLst/>
            <a:ahLst/>
            <a:cxnLst/>
            <a:rect l="l" t="t" r="r" b="b"/>
            <a:pathLst>
              <a:path w="4304030" h="1148080">
                <a:moveTo>
                  <a:pt x="4247001" y="1113203"/>
                </a:moveTo>
                <a:lnTo>
                  <a:pt x="4192016" y="1128776"/>
                </a:lnTo>
                <a:lnTo>
                  <a:pt x="4188967" y="1134237"/>
                </a:lnTo>
                <a:lnTo>
                  <a:pt x="4190491" y="1139571"/>
                </a:lnTo>
                <a:lnTo>
                  <a:pt x="4192016" y="1144778"/>
                </a:lnTo>
                <a:lnTo>
                  <a:pt x="4197476" y="1147826"/>
                </a:lnTo>
                <a:lnTo>
                  <a:pt x="4202684" y="1146302"/>
                </a:lnTo>
                <a:lnTo>
                  <a:pt x="4287707" y="1122299"/>
                </a:lnTo>
                <a:lnTo>
                  <a:pt x="4282313" y="1122299"/>
                </a:lnTo>
                <a:lnTo>
                  <a:pt x="4247001" y="1113203"/>
                </a:lnTo>
                <a:close/>
              </a:path>
              <a:path w="4304030" h="1148080">
                <a:moveTo>
                  <a:pt x="4265855" y="1107869"/>
                </a:moveTo>
                <a:lnTo>
                  <a:pt x="4247001" y="1113203"/>
                </a:lnTo>
                <a:lnTo>
                  <a:pt x="4282313" y="1122299"/>
                </a:lnTo>
                <a:lnTo>
                  <a:pt x="4282936" y="1119886"/>
                </a:lnTo>
                <a:lnTo>
                  <a:pt x="4277995" y="1119886"/>
                </a:lnTo>
                <a:lnTo>
                  <a:pt x="4265855" y="1107869"/>
                </a:lnTo>
                <a:close/>
              </a:path>
              <a:path w="4304030" h="1148080">
                <a:moveTo>
                  <a:pt x="4225290" y="1039876"/>
                </a:moveTo>
                <a:lnTo>
                  <a:pt x="4219067" y="1039876"/>
                </a:lnTo>
                <a:lnTo>
                  <a:pt x="4211320" y="1047623"/>
                </a:lnTo>
                <a:lnTo>
                  <a:pt x="4211320" y="1053973"/>
                </a:lnTo>
                <a:lnTo>
                  <a:pt x="4215257" y="1057783"/>
                </a:lnTo>
                <a:lnTo>
                  <a:pt x="4251841" y="1093996"/>
                </a:lnTo>
                <a:lnTo>
                  <a:pt x="4287266" y="1103122"/>
                </a:lnTo>
                <a:lnTo>
                  <a:pt x="4282313" y="1122299"/>
                </a:lnTo>
                <a:lnTo>
                  <a:pt x="4287707" y="1122299"/>
                </a:lnTo>
                <a:lnTo>
                  <a:pt x="4303902" y="1117727"/>
                </a:lnTo>
                <a:lnTo>
                  <a:pt x="4229226" y="1043686"/>
                </a:lnTo>
                <a:lnTo>
                  <a:pt x="4225290" y="1039876"/>
                </a:lnTo>
                <a:close/>
              </a:path>
              <a:path w="4304030" h="1148080">
                <a:moveTo>
                  <a:pt x="4282186" y="1103249"/>
                </a:moveTo>
                <a:lnTo>
                  <a:pt x="4265855" y="1107869"/>
                </a:lnTo>
                <a:lnTo>
                  <a:pt x="4277995" y="1119886"/>
                </a:lnTo>
                <a:lnTo>
                  <a:pt x="4282186" y="1103249"/>
                </a:lnTo>
                <a:close/>
              </a:path>
              <a:path w="4304030" h="1148080">
                <a:moveTo>
                  <a:pt x="4287233" y="1103249"/>
                </a:moveTo>
                <a:lnTo>
                  <a:pt x="4282186" y="1103249"/>
                </a:lnTo>
                <a:lnTo>
                  <a:pt x="4277995" y="1119886"/>
                </a:lnTo>
                <a:lnTo>
                  <a:pt x="4282936" y="1119886"/>
                </a:lnTo>
                <a:lnTo>
                  <a:pt x="4287233" y="1103249"/>
                </a:lnTo>
                <a:close/>
              </a:path>
              <a:path w="4304030" h="1148080">
                <a:moveTo>
                  <a:pt x="4825" y="0"/>
                </a:moveTo>
                <a:lnTo>
                  <a:pt x="0" y="19304"/>
                </a:lnTo>
                <a:lnTo>
                  <a:pt x="4247001" y="1113203"/>
                </a:lnTo>
                <a:lnTo>
                  <a:pt x="4265855" y="1107869"/>
                </a:lnTo>
                <a:lnTo>
                  <a:pt x="4251841" y="1093996"/>
                </a:lnTo>
                <a:lnTo>
                  <a:pt x="4825" y="0"/>
                </a:lnTo>
                <a:close/>
              </a:path>
              <a:path w="4304030" h="1148080">
                <a:moveTo>
                  <a:pt x="4251841" y="1093996"/>
                </a:moveTo>
                <a:lnTo>
                  <a:pt x="4265855" y="1107869"/>
                </a:lnTo>
                <a:lnTo>
                  <a:pt x="4282186" y="1103249"/>
                </a:lnTo>
                <a:lnTo>
                  <a:pt x="4287233" y="1103249"/>
                </a:lnTo>
                <a:lnTo>
                  <a:pt x="4251841" y="1093996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5CB9"/>
              </a:solidFill>
            </a:endParaRPr>
          </a:p>
        </p:txBody>
      </p:sp>
      <p:graphicFrame>
        <p:nvGraphicFramePr>
          <p:cNvPr id="13" name="object 13"/>
          <p:cNvGraphicFramePr>
            <a:graphicFrameLocks noGrp="1"/>
          </p:cNvGraphicFramePr>
          <p:nvPr>
            <p:extLst/>
          </p:nvPr>
        </p:nvGraphicFramePr>
        <p:xfrm>
          <a:off x="4043357" y="2999230"/>
          <a:ext cx="3779156" cy="14264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20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08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37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7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50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5111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utlook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umidit</a:t>
                      </a:r>
                      <a:r>
                        <a:rPr lang="en-US"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 </a:t>
                      </a:r>
                      <a:endParaRPr sz="1600" kern="1200" spc="-15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ind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Play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vercast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igh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vercast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vercast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High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13</a:t>
                      </a:r>
                      <a:endParaRPr sz="1600" kern="1200" spc="-15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Overcast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rmal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Yes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4" name="object 14"/>
          <p:cNvSpPr txBox="1"/>
          <p:nvPr/>
        </p:nvSpPr>
        <p:spPr>
          <a:xfrm>
            <a:off x="9295890" y="5204933"/>
            <a:ext cx="136475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" defTabSz="896112"/>
            <a:r>
              <a:rPr sz="1600" dirty="0">
                <a:solidFill>
                  <a:srgbClr val="005CB9"/>
                </a:solidFill>
                <a:cs typeface="Segoe UI Light"/>
              </a:rPr>
              <a:t>3 yes and 2 No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9333540" y="5524013"/>
            <a:ext cx="1289453" cy="311687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txBody>
          <a:bodyPr vert="horz" wrap="square" lIns="0" tIns="39829" rIns="0" bIns="0" rtlCol="0" anchor="ctr">
            <a:spAutoFit/>
          </a:bodyPr>
          <a:lstStyle/>
          <a:p>
            <a:pPr marL="88989" algn="ctr" defTabSz="896112">
              <a:spcBef>
                <a:spcPts val="319"/>
              </a:spcBef>
            </a:pPr>
            <a:r>
              <a:rPr sz="1764" spc="-10" dirty="0">
                <a:solidFill>
                  <a:srgbClr val="FFFFFF"/>
                </a:solidFill>
                <a:cs typeface="Segoe UI Light"/>
              </a:rPr>
              <a:t>Split further</a:t>
            </a:r>
          </a:p>
        </p:txBody>
      </p:sp>
      <p:sp>
        <p:nvSpPr>
          <p:cNvPr id="20" name="object 20"/>
          <p:cNvSpPr/>
          <p:nvPr/>
        </p:nvSpPr>
        <p:spPr>
          <a:xfrm>
            <a:off x="914414" y="3430734"/>
            <a:ext cx="2083264" cy="570173"/>
          </a:xfrm>
          <a:custGeom>
            <a:avLst/>
            <a:gdLst/>
            <a:ahLst/>
            <a:cxnLst/>
            <a:rect l="l" t="t" r="r" b="b"/>
            <a:pathLst>
              <a:path w="2158365" h="734695">
                <a:moveTo>
                  <a:pt x="0" y="367284"/>
                </a:moveTo>
                <a:lnTo>
                  <a:pt x="8407" y="321217"/>
                </a:lnTo>
                <a:lnTo>
                  <a:pt x="32955" y="276857"/>
                </a:lnTo>
                <a:lnTo>
                  <a:pt x="72631" y="234548"/>
                </a:lnTo>
                <a:lnTo>
                  <a:pt x="126426" y="194633"/>
                </a:lnTo>
                <a:lnTo>
                  <a:pt x="193326" y="157458"/>
                </a:lnTo>
                <a:lnTo>
                  <a:pt x="231375" y="140005"/>
                </a:lnTo>
                <a:lnTo>
                  <a:pt x="272322" y="123366"/>
                </a:lnTo>
                <a:lnTo>
                  <a:pt x="316039" y="107584"/>
                </a:lnTo>
                <a:lnTo>
                  <a:pt x="362401" y="92703"/>
                </a:lnTo>
                <a:lnTo>
                  <a:pt x="411281" y="78764"/>
                </a:lnTo>
                <a:lnTo>
                  <a:pt x="462552" y="65812"/>
                </a:lnTo>
                <a:lnTo>
                  <a:pt x="516088" y="53889"/>
                </a:lnTo>
                <a:lnTo>
                  <a:pt x="571764" y="43038"/>
                </a:lnTo>
                <a:lnTo>
                  <a:pt x="629451" y="33302"/>
                </a:lnTo>
                <a:lnTo>
                  <a:pt x="689025" y="24725"/>
                </a:lnTo>
                <a:lnTo>
                  <a:pt x="750358" y="17349"/>
                </a:lnTo>
                <a:lnTo>
                  <a:pt x="813324" y="11218"/>
                </a:lnTo>
                <a:lnTo>
                  <a:pt x="877797" y="6375"/>
                </a:lnTo>
                <a:lnTo>
                  <a:pt x="943650" y="2862"/>
                </a:lnTo>
                <a:lnTo>
                  <a:pt x="1010757" y="722"/>
                </a:lnTo>
                <a:lnTo>
                  <a:pt x="1078992" y="0"/>
                </a:lnTo>
                <a:lnTo>
                  <a:pt x="1147226" y="722"/>
                </a:lnTo>
                <a:lnTo>
                  <a:pt x="1214333" y="2862"/>
                </a:lnTo>
                <a:lnTo>
                  <a:pt x="1280186" y="6375"/>
                </a:lnTo>
                <a:lnTo>
                  <a:pt x="1344659" y="11218"/>
                </a:lnTo>
                <a:lnTo>
                  <a:pt x="1407625" y="17349"/>
                </a:lnTo>
                <a:lnTo>
                  <a:pt x="1468958" y="24725"/>
                </a:lnTo>
                <a:lnTo>
                  <a:pt x="1528532" y="33302"/>
                </a:lnTo>
                <a:lnTo>
                  <a:pt x="1586219" y="43038"/>
                </a:lnTo>
                <a:lnTo>
                  <a:pt x="1641895" y="53889"/>
                </a:lnTo>
                <a:lnTo>
                  <a:pt x="1695431" y="65812"/>
                </a:lnTo>
                <a:lnTo>
                  <a:pt x="1746702" y="78764"/>
                </a:lnTo>
                <a:lnTo>
                  <a:pt x="1795582" y="92703"/>
                </a:lnTo>
                <a:lnTo>
                  <a:pt x="1841944" y="107584"/>
                </a:lnTo>
                <a:lnTo>
                  <a:pt x="1885661" y="123366"/>
                </a:lnTo>
                <a:lnTo>
                  <a:pt x="1926608" y="140005"/>
                </a:lnTo>
                <a:lnTo>
                  <a:pt x="1964657" y="157458"/>
                </a:lnTo>
                <a:lnTo>
                  <a:pt x="1999682" y="175681"/>
                </a:lnTo>
                <a:lnTo>
                  <a:pt x="2060156" y="214270"/>
                </a:lnTo>
                <a:lnTo>
                  <a:pt x="2107018" y="255425"/>
                </a:lnTo>
                <a:lnTo>
                  <a:pt x="2139257" y="298803"/>
                </a:lnTo>
                <a:lnTo>
                  <a:pt x="2155861" y="344059"/>
                </a:lnTo>
                <a:lnTo>
                  <a:pt x="2157984" y="367284"/>
                </a:lnTo>
                <a:lnTo>
                  <a:pt x="2155861" y="390508"/>
                </a:lnTo>
                <a:lnTo>
                  <a:pt x="2139257" y="435764"/>
                </a:lnTo>
                <a:lnTo>
                  <a:pt x="2107018" y="479142"/>
                </a:lnTo>
                <a:lnTo>
                  <a:pt x="2060156" y="520297"/>
                </a:lnTo>
                <a:lnTo>
                  <a:pt x="1999682" y="558886"/>
                </a:lnTo>
                <a:lnTo>
                  <a:pt x="1964657" y="577109"/>
                </a:lnTo>
                <a:lnTo>
                  <a:pt x="1926608" y="594562"/>
                </a:lnTo>
                <a:lnTo>
                  <a:pt x="1885661" y="611201"/>
                </a:lnTo>
                <a:lnTo>
                  <a:pt x="1841944" y="626983"/>
                </a:lnTo>
                <a:lnTo>
                  <a:pt x="1795582" y="641864"/>
                </a:lnTo>
                <a:lnTo>
                  <a:pt x="1746702" y="655803"/>
                </a:lnTo>
                <a:lnTo>
                  <a:pt x="1695431" y="668755"/>
                </a:lnTo>
                <a:lnTo>
                  <a:pt x="1641895" y="680678"/>
                </a:lnTo>
                <a:lnTo>
                  <a:pt x="1586219" y="691529"/>
                </a:lnTo>
                <a:lnTo>
                  <a:pt x="1528532" y="701265"/>
                </a:lnTo>
                <a:lnTo>
                  <a:pt x="1468958" y="709842"/>
                </a:lnTo>
                <a:lnTo>
                  <a:pt x="1407625" y="717218"/>
                </a:lnTo>
                <a:lnTo>
                  <a:pt x="1344659" y="723349"/>
                </a:lnTo>
                <a:lnTo>
                  <a:pt x="1280186" y="728192"/>
                </a:lnTo>
                <a:lnTo>
                  <a:pt x="1214333" y="731705"/>
                </a:lnTo>
                <a:lnTo>
                  <a:pt x="1147226" y="733845"/>
                </a:lnTo>
                <a:lnTo>
                  <a:pt x="1078992" y="734568"/>
                </a:lnTo>
                <a:lnTo>
                  <a:pt x="1010757" y="733845"/>
                </a:lnTo>
                <a:lnTo>
                  <a:pt x="943650" y="731705"/>
                </a:lnTo>
                <a:lnTo>
                  <a:pt x="877797" y="728192"/>
                </a:lnTo>
                <a:lnTo>
                  <a:pt x="813324" y="723349"/>
                </a:lnTo>
                <a:lnTo>
                  <a:pt x="750358" y="717218"/>
                </a:lnTo>
                <a:lnTo>
                  <a:pt x="689025" y="709842"/>
                </a:lnTo>
                <a:lnTo>
                  <a:pt x="629451" y="701265"/>
                </a:lnTo>
                <a:lnTo>
                  <a:pt x="571764" y="691529"/>
                </a:lnTo>
                <a:lnTo>
                  <a:pt x="516088" y="680678"/>
                </a:lnTo>
                <a:lnTo>
                  <a:pt x="462552" y="668755"/>
                </a:lnTo>
                <a:lnTo>
                  <a:pt x="411281" y="655803"/>
                </a:lnTo>
                <a:lnTo>
                  <a:pt x="362401" y="641864"/>
                </a:lnTo>
                <a:lnTo>
                  <a:pt x="316039" y="626983"/>
                </a:lnTo>
                <a:lnTo>
                  <a:pt x="272322" y="611201"/>
                </a:lnTo>
                <a:lnTo>
                  <a:pt x="231375" y="594562"/>
                </a:lnTo>
                <a:lnTo>
                  <a:pt x="193326" y="577109"/>
                </a:lnTo>
                <a:lnTo>
                  <a:pt x="158301" y="558886"/>
                </a:lnTo>
                <a:lnTo>
                  <a:pt x="97827" y="520297"/>
                </a:lnTo>
                <a:lnTo>
                  <a:pt x="50965" y="479142"/>
                </a:lnTo>
                <a:lnTo>
                  <a:pt x="18726" y="435764"/>
                </a:lnTo>
                <a:lnTo>
                  <a:pt x="2122" y="390508"/>
                </a:lnTo>
                <a:lnTo>
                  <a:pt x="0" y="367284"/>
                </a:lnTo>
                <a:close/>
              </a:path>
            </a:pathLst>
          </a:cu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5CB9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281782" y="3503704"/>
            <a:ext cx="1332394" cy="369332"/>
          </a:xfrm>
          <a:prstGeom prst="rect">
            <a:avLst/>
          </a:prstGeom>
          <a:solidFill>
            <a:schemeClr val="accent6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marL="12446" algn="ctr" defTabSz="896112"/>
            <a:r>
              <a:rPr sz="2400" spc="-5" dirty="0">
                <a:solidFill>
                  <a:srgbClr val="FFFFFF"/>
                </a:solidFill>
                <a:cs typeface="Segoe UI Light"/>
              </a:rPr>
              <a:t>Humidity</a:t>
            </a:r>
            <a:endParaRPr sz="2400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72031" y="4307314"/>
            <a:ext cx="878719" cy="445536"/>
          </a:xfrm>
          <a:prstGeom prst="rect">
            <a:avLst/>
          </a:pr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vert="horz" wrap="square" lIns="0" tIns="23026" rIns="0" bIns="0" rtlCol="0" anchor="ctr">
            <a:spAutoFit/>
          </a:bodyPr>
          <a:lstStyle/>
          <a:p>
            <a:pPr marL="76543" algn="ctr" defTabSz="896112">
              <a:spcBef>
                <a:spcPts val="181"/>
              </a:spcBef>
            </a:pPr>
            <a:r>
              <a:rPr sz="2744" spc="-5" dirty="0">
                <a:solidFill>
                  <a:srgbClr val="FFFFFF"/>
                </a:solidFill>
                <a:cs typeface="Segoe UI Light"/>
              </a:rPr>
              <a:t>High</a:t>
            </a:r>
            <a:endParaRPr sz="274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469909" y="4283409"/>
            <a:ext cx="1278874" cy="444907"/>
          </a:xfrm>
          <a:prstGeom prst="rect">
            <a:avLst/>
          </a:prstGeom>
          <a:solidFill>
            <a:schemeClr val="accent6"/>
          </a:solidFill>
          <a:ln w="25908">
            <a:solidFill>
              <a:schemeClr val="tx1"/>
            </a:solidFill>
          </a:ln>
        </p:spPr>
        <p:txBody>
          <a:bodyPr vert="horz" wrap="square" lIns="0" tIns="22404" rIns="0" bIns="0" rtlCol="0" anchor="ctr">
            <a:spAutoFit/>
          </a:bodyPr>
          <a:lstStyle/>
          <a:p>
            <a:pPr marL="75298" algn="ctr" defTabSz="896112">
              <a:spcBef>
                <a:spcPts val="176"/>
              </a:spcBef>
            </a:pPr>
            <a:r>
              <a:rPr sz="2744" spc="-5" dirty="0">
                <a:solidFill>
                  <a:srgbClr val="FFFFFF"/>
                </a:solidFill>
                <a:cs typeface="Segoe UI Light"/>
              </a:rPr>
              <a:t>Normal</a:t>
            </a:r>
            <a:endParaRPr sz="274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25" name="object 25"/>
          <p:cNvSpPr/>
          <p:nvPr/>
        </p:nvSpPr>
        <p:spPr>
          <a:xfrm rot="169000">
            <a:off x="733370" y="3964395"/>
            <a:ext cx="1064172" cy="355346"/>
          </a:xfrm>
          <a:custGeom>
            <a:avLst/>
            <a:gdLst/>
            <a:ahLst/>
            <a:cxnLst/>
            <a:rect l="l" t="t" r="r" b="b"/>
            <a:pathLst>
              <a:path w="1085850" h="362585">
                <a:moveTo>
                  <a:pt x="81622" y="255650"/>
                </a:moveTo>
                <a:lnTo>
                  <a:pt x="75349" y="255904"/>
                </a:lnTo>
                <a:lnTo>
                  <a:pt x="71628" y="259841"/>
                </a:lnTo>
                <a:lnTo>
                  <a:pt x="0" y="336930"/>
                </a:lnTo>
                <a:lnTo>
                  <a:pt x="107645" y="362584"/>
                </a:lnTo>
                <a:lnTo>
                  <a:pt x="112979" y="359409"/>
                </a:lnTo>
                <a:lnTo>
                  <a:pt x="115519" y="348741"/>
                </a:lnTo>
                <a:lnTo>
                  <a:pt x="112242" y="343407"/>
                </a:lnTo>
                <a:lnTo>
                  <a:pt x="101115" y="340740"/>
                </a:lnTo>
                <a:lnTo>
                  <a:pt x="21678" y="340740"/>
                </a:lnTo>
                <a:lnTo>
                  <a:pt x="15938" y="321817"/>
                </a:lnTo>
                <a:lnTo>
                  <a:pt x="50949" y="311224"/>
                </a:lnTo>
                <a:lnTo>
                  <a:pt x="86131" y="273430"/>
                </a:lnTo>
                <a:lnTo>
                  <a:pt x="89852" y="269366"/>
                </a:lnTo>
                <a:lnTo>
                  <a:pt x="89623" y="263143"/>
                </a:lnTo>
                <a:lnTo>
                  <a:pt x="85623" y="259333"/>
                </a:lnTo>
                <a:lnTo>
                  <a:pt x="81622" y="255650"/>
                </a:lnTo>
                <a:close/>
              </a:path>
              <a:path w="1085850" h="362585">
                <a:moveTo>
                  <a:pt x="50949" y="311224"/>
                </a:moveTo>
                <a:lnTo>
                  <a:pt x="15938" y="321817"/>
                </a:lnTo>
                <a:lnTo>
                  <a:pt x="21678" y="340740"/>
                </a:lnTo>
                <a:lnTo>
                  <a:pt x="30916" y="337946"/>
                </a:lnTo>
                <a:lnTo>
                  <a:pt x="26073" y="337946"/>
                </a:lnTo>
                <a:lnTo>
                  <a:pt x="21107" y="321563"/>
                </a:lnTo>
                <a:lnTo>
                  <a:pt x="41324" y="321563"/>
                </a:lnTo>
                <a:lnTo>
                  <a:pt x="50949" y="311224"/>
                </a:lnTo>
                <a:close/>
              </a:path>
              <a:path w="1085850" h="362585">
                <a:moveTo>
                  <a:pt x="56798" y="330118"/>
                </a:moveTo>
                <a:lnTo>
                  <a:pt x="21678" y="340740"/>
                </a:lnTo>
                <a:lnTo>
                  <a:pt x="101115" y="340740"/>
                </a:lnTo>
                <a:lnTo>
                  <a:pt x="56798" y="330118"/>
                </a:lnTo>
                <a:close/>
              </a:path>
              <a:path w="1085850" h="362585">
                <a:moveTo>
                  <a:pt x="21107" y="321563"/>
                </a:moveTo>
                <a:lnTo>
                  <a:pt x="26073" y="337946"/>
                </a:lnTo>
                <a:lnTo>
                  <a:pt x="37636" y="325525"/>
                </a:lnTo>
                <a:lnTo>
                  <a:pt x="21107" y="321563"/>
                </a:lnTo>
                <a:close/>
              </a:path>
              <a:path w="1085850" h="362585">
                <a:moveTo>
                  <a:pt x="37636" y="325525"/>
                </a:moveTo>
                <a:lnTo>
                  <a:pt x="26073" y="337946"/>
                </a:lnTo>
                <a:lnTo>
                  <a:pt x="30916" y="337946"/>
                </a:lnTo>
                <a:lnTo>
                  <a:pt x="56798" y="330118"/>
                </a:lnTo>
                <a:lnTo>
                  <a:pt x="37636" y="325525"/>
                </a:lnTo>
                <a:close/>
              </a:path>
              <a:path w="1085850" h="362585">
                <a:moveTo>
                  <a:pt x="1079538" y="0"/>
                </a:moveTo>
                <a:lnTo>
                  <a:pt x="50949" y="311224"/>
                </a:lnTo>
                <a:lnTo>
                  <a:pt x="37636" y="325525"/>
                </a:lnTo>
                <a:lnTo>
                  <a:pt x="56798" y="330118"/>
                </a:lnTo>
                <a:lnTo>
                  <a:pt x="1085253" y="19050"/>
                </a:lnTo>
                <a:lnTo>
                  <a:pt x="1079538" y="0"/>
                </a:lnTo>
                <a:close/>
              </a:path>
              <a:path w="1085850" h="362585">
                <a:moveTo>
                  <a:pt x="41324" y="321563"/>
                </a:moveTo>
                <a:lnTo>
                  <a:pt x="21107" y="321563"/>
                </a:lnTo>
                <a:lnTo>
                  <a:pt x="37636" y="325525"/>
                </a:lnTo>
                <a:lnTo>
                  <a:pt x="41324" y="321563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5CB9"/>
              </a:solidFill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2225723" y="4000907"/>
            <a:ext cx="1009209" cy="238756"/>
          </a:xfrm>
          <a:custGeom>
            <a:avLst/>
            <a:gdLst/>
            <a:ahLst/>
            <a:cxnLst/>
            <a:rect l="l" t="t" r="r" b="b"/>
            <a:pathLst>
              <a:path w="1052830" h="321310">
                <a:moveTo>
                  <a:pt x="995390" y="287242"/>
                </a:moveTo>
                <a:lnTo>
                  <a:pt x="940435" y="302132"/>
                </a:lnTo>
                <a:lnTo>
                  <a:pt x="937260" y="307593"/>
                </a:lnTo>
                <a:lnTo>
                  <a:pt x="938784" y="312927"/>
                </a:lnTo>
                <a:lnTo>
                  <a:pt x="940181" y="318134"/>
                </a:lnTo>
                <a:lnTo>
                  <a:pt x="945642" y="321309"/>
                </a:lnTo>
                <a:lnTo>
                  <a:pt x="1036061" y="296798"/>
                </a:lnTo>
                <a:lnTo>
                  <a:pt x="1030859" y="296798"/>
                </a:lnTo>
                <a:lnTo>
                  <a:pt x="995390" y="287242"/>
                </a:lnTo>
                <a:close/>
              </a:path>
              <a:path w="1052830" h="321310">
                <a:moveTo>
                  <a:pt x="1014490" y="282061"/>
                </a:moveTo>
                <a:lnTo>
                  <a:pt x="995390" y="287242"/>
                </a:lnTo>
                <a:lnTo>
                  <a:pt x="1030859" y="296798"/>
                </a:lnTo>
                <a:lnTo>
                  <a:pt x="1031583" y="294131"/>
                </a:lnTo>
                <a:lnTo>
                  <a:pt x="1026414" y="294131"/>
                </a:lnTo>
                <a:lnTo>
                  <a:pt x="1014490" y="282061"/>
                </a:lnTo>
                <a:close/>
              </a:path>
              <a:path w="1052830" h="321310">
                <a:moveTo>
                  <a:pt x="974598" y="213613"/>
                </a:moveTo>
                <a:lnTo>
                  <a:pt x="968375" y="213613"/>
                </a:lnTo>
                <a:lnTo>
                  <a:pt x="964438" y="217423"/>
                </a:lnTo>
                <a:lnTo>
                  <a:pt x="960628" y="221233"/>
                </a:lnTo>
                <a:lnTo>
                  <a:pt x="960501" y="227583"/>
                </a:lnTo>
                <a:lnTo>
                  <a:pt x="964438" y="231393"/>
                </a:lnTo>
                <a:lnTo>
                  <a:pt x="1000695" y="268097"/>
                </a:lnTo>
                <a:lnTo>
                  <a:pt x="1036066" y="277621"/>
                </a:lnTo>
                <a:lnTo>
                  <a:pt x="1030859" y="296798"/>
                </a:lnTo>
                <a:lnTo>
                  <a:pt x="1036061" y="296798"/>
                </a:lnTo>
                <a:lnTo>
                  <a:pt x="1052449" y="292353"/>
                </a:lnTo>
                <a:lnTo>
                  <a:pt x="978285" y="217423"/>
                </a:lnTo>
                <a:lnTo>
                  <a:pt x="974598" y="213613"/>
                </a:lnTo>
                <a:close/>
              </a:path>
              <a:path w="1052830" h="321310">
                <a:moveTo>
                  <a:pt x="1030859" y="277621"/>
                </a:moveTo>
                <a:lnTo>
                  <a:pt x="1014490" y="282061"/>
                </a:lnTo>
                <a:lnTo>
                  <a:pt x="1026414" y="294131"/>
                </a:lnTo>
                <a:lnTo>
                  <a:pt x="1030859" y="277621"/>
                </a:lnTo>
                <a:close/>
              </a:path>
              <a:path w="1052830" h="321310">
                <a:moveTo>
                  <a:pt x="1036066" y="277621"/>
                </a:moveTo>
                <a:lnTo>
                  <a:pt x="1030859" y="277621"/>
                </a:lnTo>
                <a:lnTo>
                  <a:pt x="1026414" y="294131"/>
                </a:lnTo>
                <a:lnTo>
                  <a:pt x="1031583" y="294131"/>
                </a:lnTo>
                <a:lnTo>
                  <a:pt x="1036066" y="277621"/>
                </a:lnTo>
                <a:close/>
              </a:path>
              <a:path w="1052830" h="321310">
                <a:moveTo>
                  <a:pt x="5080" y="0"/>
                </a:moveTo>
                <a:lnTo>
                  <a:pt x="0" y="19050"/>
                </a:lnTo>
                <a:lnTo>
                  <a:pt x="995390" y="287242"/>
                </a:lnTo>
                <a:lnTo>
                  <a:pt x="1014490" y="282061"/>
                </a:lnTo>
                <a:lnTo>
                  <a:pt x="1000695" y="268097"/>
                </a:lnTo>
                <a:lnTo>
                  <a:pt x="5080" y="0"/>
                </a:lnTo>
                <a:close/>
              </a:path>
              <a:path w="1052830" h="321310">
                <a:moveTo>
                  <a:pt x="1000695" y="268097"/>
                </a:moveTo>
                <a:lnTo>
                  <a:pt x="1014490" y="282061"/>
                </a:lnTo>
                <a:lnTo>
                  <a:pt x="1030859" y="277621"/>
                </a:lnTo>
                <a:lnTo>
                  <a:pt x="1036066" y="277621"/>
                </a:lnTo>
                <a:lnTo>
                  <a:pt x="1000695" y="26809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5CB9"/>
              </a:solidFill>
            </a:endParaRPr>
          </a:p>
        </p:txBody>
      </p:sp>
      <p:sp>
        <p:nvSpPr>
          <p:cNvPr id="34" name="object 31"/>
          <p:cNvSpPr txBox="1"/>
          <p:nvPr/>
        </p:nvSpPr>
        <p:spPr>
          <a:xfrm>
            <a:off x="408106" y="6038906"/>
            <a:ext cx="1261573" cy="312315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40451" rIns="0" bIns="0" rtlCol="0" anchor="ctr">
            <a:spAutoFit/>
          </a:bodyPr>
          <a:lstStyle/>
          <a:p>
            <a:pPr marL="88989" algn="ctr" defTabSz="896112">
              <a:spcBef>
                <a:spcPts val="319"/>
              </a:spcBef>
            </a:pPr>
            <a:r>
              <a:rPr sz="1764" spc="-10" dirty="0">
                <a:solidFill>
                  <a:srgbClr val="FFFFFF"/>
                </a:solidFill>
                <a:cs typeface="Segoe UI Light"/>
              </a:rPr>
              <a:t>Pure</a:t>
            </a:r>
            <a:r>
              <a:rPr sz="1764" spc="-103" dirty="0">
                <a:solidFill>
                  <a:srgbClr val="FFFFFF"/>
                </a:solidFill>
                <a:cs typeface="Segoe UI Light"/>
              </a:rPr>
              <a:t> </a:t>
            </a:r>
            <a:r>
              <a:rPr sz="1764" spc="-5" dirty="0">
                <a:solidFill>
                  <a:srgbClr val="FFFFFF"/>
                </a:solidFill>
                <a:cs typeface="Segoe UI Light"/>
              </a:rPr>
              <a:t>Subset</a:t>
            </a:r>
            <a:endParaRPr sz="176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35" name="object 31"/>
          <p:cNvSpPr txBox="1"/>
          <p:nvPr/>
        </p:nvSpPr>
        <p:spPr>
          <a:xfrm>
            <a:off x="2469909" y="5779167"/>
            <a:ext cx="1261573" cy="312315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40451" rIns="0" bIns="0" rtlCol="0" anchor="ctr">
            <a:spAutoFit/>
          </a:bodyPr>
          <a:lstStyle/>
          <a:p>
            <a:pPr marL="88989" algn="ctr" defTabSz="896112">
              <a:spcBef>
                <a:spcPts val="319"/>
              </a:spcBef>
            </a:pPr>
            <a:r>
              <a:rPr sz="1764" spc="-10" dirty="0">
                <a:solidFill>
                  <a:srgbClr val="FFFFFF"/>
                </a:solidFill>
                <a:cs typeface="Segoe UI Light"/>
              </a:rPr>
              <a:t>Pure</a:t>
            </a:r>
            <a:r>
              <a:rPr sz="1764" spc="-103" dirty="0">
                <a:solidFill>
                  <a:srgbClr val="FFFFFF"/>
                </a:solidFill>
                <a:cs typeface="Segoe UI Light"/>
              </a:rPr>
              <a:t> </a:t>
            </a:r>
            <a:r>
              <a:rPr sz="1764" spc="-5" dirty="0">
                <a:solidFill>
                  <a:srgbClr val="FFFFFF"/>
                </a:solidFill>
                <a:cs typeface="Segoe UI Light"/>
              </a:rPr>
              <a:t>Subset</a:t>
            </a:r>
            <a:endParaRPr sz="176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36" name="object 31"/>
          <p:cNvSpPr txBox="1"/>
          <p:nvPr/>
        </p:nvSpPr>
        <p:spPr>
          <a:xfrm>
            <a:off x="5097218" y="4866462"/>
            <a:ext cx="1310836" cy="312315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40451" rIns="0" bIns="0" rtlCol="0" anchor="ctr">
            <a:spAutoFit/>
          </a:bodyPr>
          <a:lstStyle/>
          <a:p>
            <a:pPr marL="88989" algn="ctr" defTabSz="896112">
              <a:spcBef>
                <a:spcPts val="319"/>
              </a:spcBef>
            </a:pPr>
            <a:r>
              <a:rPr sz="1764" spc="-10" dirty="0">
                <a:solidFill>
                  <a:srgbClr val="FFFFFF"/>
                </a:solidFill>
                <a:cs typeface="Segoe UI Light"/>
              </a:rPr>
              <a:t>Pure</a:t>
            </a:r>
            <a:r>
              <a:rPr sz="1764" spc="-103" dirty="0">
                <a:solidFill>
                  <a:srgbClr val="FFFFFF"/>
                </a:solidFill>
                <a:cs typeface="Segoe UI Light"/>
              </a:rPr>
              <a:t> </a:t>
            </a:r>
            <a:r>
              <a:rPr sz="1764" spc="-5" dirty="0">
                <a:solidFill>
                  <a:srgbClr val="FFFFFF"/>
                </a:solidFill>
                <a:cs typeface="Segoe UI Light"/>
              </a:rPr>
              <a:t>Subset</a:t>
            </a:r>
            <a:endParaRPr sz="1764" dirty="0">
              <a:solidFill>
                <a:srgbClr val="FFFFFF"/>
              </a:solidFill>
              <a:cs typeface="Segoe UI Ligh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004254" y="4450151"/>
            <a:ext cx="16055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446" defTabSz="896112"/>
            <a:r>
              <a:rPr lang="en-US" sz="1600" dirty="0">
                <a:solidFill>
                  <a:srgbClr val="005CB9"/>
                </a:solidFill>
                <a:cs typeface="Segoe UI Light"/>
              </a:rPr>
              <a:t>4 yes and 0 No </a:t>
            </a:r>
          </a:p>
        </p:txBody>
      </p:sp>
      <p:sp>
        <p:nvSpPr>
          <p:cNvPr id="43" name="object 35"/>
          <p:cNvSpPr/>
          <p:nvPr/>
        </p:nvSpPr>
        <p:spPr>
          <a:xfrm>
            <a:off x="1823328" y="2954520"/>
            <a:ext cx="169512" cy="437117"/>
          </a:xfrm>
          <a:custGeom>
            <a:avLst/>
            <a:gdLst/>
            <a:ahLst/>
            <a:cxnLst/>
            <a:rect l="l" t="t" r="r" b="b"/>
            <a:pathLst>
              <a:path w="111759" h="409575">
                <a:moveTo>
                  <a:pt x="11049" y="302133"/>
                </a:moveTo>
                <a:lnTo>
                  <a:pt x="6350" y="304926"/>
                </a:lnTo>
                <a:lnTo>
                  <a:pt x="1524" y="307594"/>
                </a:lnTo>
                <a:lnTo>
                  <a:pt x="0" y="313689"/>
                </a:lnTo>
                <a:lnTo>
                  <a:pt x="2794" y="318388"/>
                </a:lnTo>
                <a:lnTo>
                  <a:pt x="55752" y="409321"/>
                </a:lnTo>
                <a:lnTo>
                  <a:pt x="67217" y="389636"/>
                </a:lnTo>
                <a:lnTo>
                  <a:pt x="45847" y="389636"/>
                </a:lnTo>
                <a:lnTo>
                  <a:pt x="45847" y="353114"/>
                </a:lnTo>
                <a:lnTo>
                  <a:pt x="19811" y="308483"/>
                </a:lnTo>
                <a:lnTo>
                  <a:pt x="17145" y="303784"/>
                </a:lnTo>
                <a:lnTo>
                  <a:pt x="11049" y="302133"/>
                </a:lnTo>
                <a:close/>
              </a:path>
              <a:path w="111759" h="409575">
                <a:moveTo>
                  <a:pt x="45847" y="353114"/>
                </a:moveTo>
                <a:lnTo>
                  <a:pt x="45847" y="389636"/>
                </a:lnTo>
                <a:lnTo>
                  <a:pt x="65658" y="389636"/>
                </a:lnTo>
                <a:lnTo>
                  <a:pt x="65658" y="384683"/>
                </a:lnTo>
                <a:lnTo>
                  <a:pt x="47244" y="384683"/>
                </a:lnTo>
                <a:lnTo>
                  <a:pt x="55752" y="370096"/>
                </a:lnTo>
                <a:lnTo>
                  <a:pt x="45847" y="353114"/>
                </a:lnTo>
                <a:close/>
              </a:path>
              <a:path w="111759" h="409575">
                <a:moveTo>
                  <a:pt x="100456" y="302133"/>
                </a:moveTo>
                <a:lnTo>
                  <a:pt x="94360" y="303784"/>
                </a:lnTo>
                <a:lnTo>
                  <a:pt x="91694" y="308483"/>
                </a:lnTo>
                <a:lnTo>
                  <a:pt x="65658" y="353114"/>
                </a:lnTo>
                <a:lnTo>
                  <a:pt x="65658" y="389636"/>
                </a:lnTo>
                <a:lnTo>
                  <a:pt x="67217" y="389636"/>
                </a:lnTo>
                <a:lnTo>
                  <a:pt x="108711" y="318388"/>
                </a:lnTo>
                <a:lnTo>
                  <a:pt x="111505" y="313689"/>
                </a:lnTo>
                <a:lnTo>
                  <a:pt x="109981" y="307594"/>
                </a:lnTo>
                <a:lnTo>
                  <a:pt x="105155" y="304926"/>
                </a:lnTo>
                <a:lnTo>
                  <a:pt x="100456" y="302133"/>
                </a:lnTo>
                <a:close/>
              </a:path>
              <a:path w="111759" h="409575">
                <a:moveTo>
                  <a:pt x="55752" y="370096"/>
                </a:moveTo>
                <a:lnTo>
                  <a:pt x="47244" y="384683"/>
                </a:lnTo>
                <a:lnTo>
                  <a:pt x="64261" y="384683"/>
                </a:lnTo>
                <a:lnTo>
                  <a:pt x="55752" y="370096"/>
                </a:lnTo>
                <a:close/>
              </a:path>
              <a:path w="111759" h="409575">
                <a:moveTo>
                  <a:pt x="65658" y="353114"/>
                </a:moveTo>
                <a:lnTo>
                  <a:pt x="55752" y="370096"/>
                </a:lnTo>
                <a:lnTo>
                  <a:pt x="64261" y="384683"/>
                </a:lnTo>
                <a:lnTo>
                  <a:pt x="65658" y="384683"/>
                </a:lnTo>
                <a:lnTo>
                  <a:pt x="65658" y="353114"/>
                </a:lnTo>
                <a:close/>
              </a:path>
              <a:path w="111759" h="409575">
                <a:moveTo>
                  <a:pt x="65658" y="0"/>
                </a:moveTo>
                <a:lnTo>
                  <a:pt x="45847" y="0"/>
                </a:lnTo>
                <a:lnTo>
                  <a:pt x="45847" y="353114"/>
                </a:lnTo>
                <a:lnTo>
                  <a:pt x="55752" y="370096"/>
                </a:lnTo>
                <a:lnTo>
                  <a:pt x="65658" y="353114"/>
                </a:lnTo>
                <a:lnTo>
                  <a:pt x="6565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defTabSz="896112"/>
            <a:endParaRPr sz="1764">
              <a:solidFill>
                <a:srgbClr val="005CB9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173406" y="4841926"/>
          <a:ext cx="1819435" cy="11179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749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4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2427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ind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Play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239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</a:t>
                      </a:r>
                      <a:r>
                        <a:rPr lang="en-US"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1</a:t>
                      </a:r>
                      <a:endParaRPr sz="1600" kern="1200" spc="-15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  <a:endParaRPr sz="1600" kern="1200" spc="-15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143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</a:t>
                      </a:r>
                      <a:r>
                        <a:rPr lang="en-US"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2</a:t>
                      </a:r>
                      <a:endParaRPr sz="1600" kern="1200" spc="-15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Strong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  <a:endParaRPr sz="1600" kern="1200" spc="-15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2143"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D8</a:t>
                      </a:r>
                      <a:endParaRPr sz="1600" kern="1200" spc="-15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Weak</a:t>
                      </a:r>
                      <a:endParaRPr sz="1600" kern="1200" spc="-15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0" algn="l" defTabSz="699363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600" kern="1200" spc="-15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/>
                        </a:rPr>
                        <a:t>No</a:t>
                      </a:r>
                      <a:endParaRPr sz="1600" kern="1200" spc="-15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1" name="Title 5"/>
          <p:cNvSpPr txBox="1">
            <a:spLocks/>
          </p:cNvSpPr>
          <p:nvPr/>
        </p:nvSpPr>
        <p:spPr bwMode="auto">
          <a:xfrm>
            <a:off x="1038892" y="355737"/>
            <a:ext cx="10843881" cy="914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30000"/>
              </a:spcAft>
              <a:defRPr sz="1683">
                <a:solidFill>
                  <a:srgbClr val="F86B1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2447">
                <a:solidFill>
                  <a:schemeClr val="tx2"/>
                </a:solidFill>
                <a:latin typeface="Arial" charset="0"/>
              </a:defRPr>
            </a:lvl5pPr>
            <a:lvl6pPr marL="349682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6pPr>
            <a:lvl7pPr marL="699363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7pPr>
            <a:lvl8pPr marL="1049046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8pPr>
            <a:lvl9pPr marL="1398727" algn="l" rtl="0" eaLnBrk="1" fontAlgn="base" hangingPunct="1">
              <a:spcBef>
                <a:spcPct val="0"/>
              </a:spcBef>
              <a:spcAft>
                <a:spcPct val="0"/>
              </a:spcAft>
              <a:defRPr sz="244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896112"/>
            <a:r>
              <a:rPr lang="en-US" sz="3600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ample (2/4)</a:t>
            </a:r>
          </a:p>
        </p:txBody>
      </p:sp>
    </p:spTree>
    <p:extLst>
      <p:ext uri="{BB962C8B-B14F-4D97-AF65-F5344CB8AC3E}">
        <p14:creationId xmlns:p14="http://schemas.microsoft.com/office/powerpoint/2010/main" val="101552911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vanade_Aurora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BC5EAA7E-6E4E-460E-96F2-8D4B7AB91738}"/>
    </a:ext>
  </a:extLst>
</a:theme>
</file>

<file path=ppt/theme/theme10.xml><?xml version="1.0" encoding="utf-8"?>
<a:theme xmlns:a="http://schemas.openxmlformats.org/drawingml/2006/main" name="FY13_16by9_fullversion">
  <a:themeElements>
    <a:clrScheme name="Avanade">
      <a:dk1>
        <a:srgbClr val="000000"/>
      </a:dk1>
      <a:lt1>
        <a:srgbClr val="FFFFFF"/>
      </a:lt1>
      <a:dk2>
        <a:srgbClr val="FF5800"/>
      </a:dk2>
      <a:lt2>
        <a:srgbClr val="BCBDBC"/>
      </a:lt2>
      <a:accent1>
        <a:srgbClr val="009FDA"/>
      </a:accent1>
      <a:accent2>
        <a:srgbClr val="FDC82F"/>
      </a:accent2>
      <a:accent3>
        <a:srgbClr val="34B233"/>
      </a:accent3>
      <a:accent4>
        <a:srgbClr val="CF0072"/>
      </a:accent4>
      <a:accent5>
        <a:srgbClr val="747678"/>
      </a:accent5>
      <a:accent6>
        <a:srgbClr val="BCBDBC"/>
      </a:accent6>
      <a:hlink>
        <a:srgbClr val="FF5800"/>
      </a:hlink>
      <a:folHlink>
        <a:srgbClr val="FF58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  <a:tailEnd type="triangl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58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111C24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0D161D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747678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626465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58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111C24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0D161D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747678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626465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FF5800"/>
        </a:dk2>
        <a:lt2>
          <a:srgbClr val="009FDA"/>
        </a:lt2>
        <a:accent1>
          <a:srgbClr val="BCBDBC"/>
        </a:accent1>
        <a:accent2>
          <a:srgbClr val="FDC82F"/>
        </a:accent2>
        <a:accent3>
          <a:srgbClr val="FFFFFF"/>
        </a:accent3>
        <a:accent4>
          <a:srgbClr val="000000"/>
        </a:accent4>
        <a:accent5>
          <a:srgbClr val="DADBDA"/>
        </a:accent5>
        <a:accent6>
          <a:srgbClr val="E5B52A"/>
        </a:accent6>
        <a:hlink>
          <a:srgbClr val="FF5800"/>
        </a:hlink>
        <a:folHlink>
          <a:srgbClr val="FF5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_FY13_16by9_fullversion">
  <a:themeElements>
    <a:clrScheme name="Avanade">
      <a:dk1>
        <a:srgbClr val="000000"/>
      </a:dk1>
      <a:lt1>
        <a:srgbClr val="FFFFFF"/>
      </a:lt1>
      <a:dk2>
        <a:srgbClr val="FF5800"/>
      </a:dk2>
      <a:lt2>
        <a:srgbClr val="BCBDBC"/>
      </a:lt2>
      <a:accent1>
        <a:srgbClr val="009FDA"/>
      </a:accent1>
      <a:accent2>
        <a:srgbClr val="FDC82F"/>
      </a:accent2>
      <a:accent3>
        <a:srgbClr val="34B233"/>
      </a:accent3>
      <a:accent4>
        <a:srgbClr val="CF0072"/>
      </a:accent4>
      <a:accent5>
        <a:srgbClr val="747678"/>
      </a:accent5>
      <a:accent6>
        <a:srgbClr val="BCBDBC"/>
      </a:accent6>
      <a:hlink>
        <a:srgbClr val="FF5800"/>
      </a:hlink>
      <a:folHlink>
        <a:srgbClr val="FF58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  <a:tailEnd type="triangl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58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111C24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0D161D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747678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626465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58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111C24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0D161D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747678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626465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FF5800"/>
        </a:dk2>
        <a:lt2>
          <a:srgbClr val="009FDA"/>
        </a:lt2>
        <a:accent1>
          <a:srgbClr val="BCBDBC"/>
        </a:accent1>
        <a:accent2>
          <a:srgbClr val="FDC82F"/>
        </a:accent2>
        <a:accent3>
          <a:srgbClr val="FFFFFF"/>
        </a:accent3>
        <a:accent4>
          <a:srgbClr val="000000"/>
        </a:accent4>
        <a:accent5>
          <a:srgbClr val="DADBDA"/>
        </a:accent5>
        <a:accent6>
          <a:srgbClr val="E5B52A"/>
        </a:accent6>
        <a:hlink>
          <a:srgbClr val="FF5800"/>
        </a:hlink>
        <a:folHlink>
          <a:srgbClr val="FF5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_FY13_ppt_complete">
  <a:themeElements>
    <a:clrScheme name="Custom 8">
      <a:dk1>
        <a:srgbClr val="005CB9"/>
      </a:dk1>
      <a:lt1>
        <a:srgbClr val="FFFFFF"/>
      </a:lt1>
      <a:dk2>
        <a:srgbClr val="464646"/>
      </a:dk2>
      <a:lt2>
        <a:srgbClr val="C8C8C8"/>
      </a:lt2>
      <a:accent1>
        <a:srgbClr val="FF5800"/>
      </a:accent1>
      <a:accent2>
        <a:srgbClr val="009FDA"/>
      </a:accent2>
      <a:accent3>
        <a:srgbClr val="34B233"/>
      </a:accent3>
      <a:accent4>
        <a:srgbClr val="9F26B5"/>
      </a:accent4>
      <a:accent5>
        <a:srgbClr val="FDC82F"/>
      </a:accent5>
      <a:accent6>
        <a:srgbClr val="008996"/>
      </a:accent6>
      <a:hlink>
        <a:srgbClr val="FF5800"/>
      </a:hlink>
      <a:folHlink>
        <a:srgbClr val="9696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  <a:tailEnd type="triangl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58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111C24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0D161D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747678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626465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58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111C24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0D161D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747678"/>
        </a:dk1>
        <a:lt1>
          <a:srgbClr val="FFFFFF"/>
        </a:lt1>
        <a:dk2>
          <a:srgbClr val="FF5800"/>
        </a:dk2>
        <a:lt2>
          <a:srgbClr val="BCBDBC"/>
        </a:lt2>
        <a:accent1>
          <a:srgbClr val="009FDA"/>
        </a:accent1>
        <a:accent2>
          <a:srgbClr val="FDC82F"/>
        </a:accent2>
        <a:accent3>
          <a:srgbClr val="FFFFFF"/>
        </a:accent3>
        <a:accent4>
          <a:srgbClr val="626465"/>
        </a:accent4>
        <a:accent5>
          <a:srgbClr val="AACDEA"/>
        </a:accent5>
        <a:accent6>
          <a:srgbClr val="E5B52A"/>
        </a:accent6>
        <a:hlink>
          <a:srgbClr val="CF0072"/>
        </a:hlink>
        <a:folHlink>
          <a:srgbClr val="34B2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FF5800"/>
        </a:dk2>
        <a:lt2>
          <a:srgbClr val="009FDA"/>
        </a:lt2>
        <a:accent1>
          <a:srgbClr val="BCBDBC"/>
        </a:accent1>
        <a:accent2>
          <a:srgbClr val="FDC82F"/>
        </a:accent2>
        <a:accent3>
          <a:srgbClr val="FFFFFF"/>
        </a:accent3>
        <a:accent4>
          <a:srgbClr val="000000"/>
        </a:accent4>
        <a:accent5>
          <a:srgbClr val="DADBDA"/>
        </a:accent5>
        <a:accent6>
          <a:srgbClr val="E5B52A"/>
        </a:accent6>
        <a:hlink>
          <a:srgbClr val="FF5800"/>
        </a:hlink>
        <a:folHlink>
          <a:srgbClr val="FF5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urora Divider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9BCED1C6-583B-482D-9D4B-9E2CDF8AD7D7}"/>
    </a:ext>
  </a:extLst>
</a:theme>
</file>

<file path=ppt/theme/theme3.xml><?xml version="1.0" encoding="utf-8"?>
<a:theme xmlns:a="http://schemas.openxmlformats.org/drawingml/2006/main" name="Highly Confidential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5BEBE594-7E4F-4EDA-AB5D-1B1B13B08BF3}"/>
    </a:ext>
  </a:extLst>
</a:theme>
</file>

<file path=ppt/theme/theme4.xml><?xml version="1.0" encoding="utf-8"?>
<a:theme xmlns:a="http://schemas.openxmlformats.org/drawingml/2006/main" name="Confidential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065E6F59-0526-4EC2-AD4B-FB702B90C229}"/>
    </a:ext>
  </a:extLst>
</a:theme>
</file>

<file path=ppt/theme/theme5.xml><?xml version="1.0" encoding="utf-8"?>
<a:theme xmlns:a="http://schemas.openxmlformats.org/drawingml/2006/main" name="Restricted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FAB72CE6-58D0-4859-BB78-F59E06750285}"/>
    </a:ext>
  </a:extLst>
</a:theme>
</file>

<file path=ppt/theme/theme6.xml><?xml version="1.0" encoding="utf-8"?>
<a:theme xmlns:a="http://schemas.openxmlformats.org/drawingml/2006/main" name="2_16-0029 3. Digital Operations (IoT) Sales Deck - Final">
  <a:themeElements>
    <a:clrScheme name="Avanade 2016">
      <a:dk1>
        <a:sysClr val="windowText" lastClr="000000"/>
      </a:dk1>
      <a:lt1>
        <a:sysClr val="window" lastClr="FFFFFF"/>
      </a:lt1>
      <a:dk2>
        <a:srgbClr val="747678"/>
      </a:dk2>
      <a:lt2>
        <a:srgbClr val="BCBDBC"/>
      </a:lt2>
      <a:accent1>
        <a:srgbClr val="FF5800"/>
      </a:accent1>
      <a:accent2>
        <a:srgbClr val="009FDA"/>
      </a:accent2>
      <a:accent3>
        <a:srgbClr val="34B233"/>
      </a:accent3>
      <a:accent4>
        <a:srgbClr val="CF0072"/>
      </a:accent4>
      <a:accent5>
        <a:srgbClr val="FDC82F"/>
      </a:accent5>
      <a:accent6>
        <a:srgbClr val="005CB9"/>
      </a:accent6>
      <a:hlink>
        <a:srgbClr val="FF5800"/>
      </a:hlink>
      <a:folHlink>
        <a:srgbClr val="9F26B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BusinessPPT_2016.pptx" id="{BBB5F7E7-18B9-4A39-8418-A5139F0691A0}" vid="{22FCD716-E47C-4F1D-824C-0D17618FA19D}"/>
    </a:ext>
  </a:extLst>
</a:theme>
</file>

<file path=ppt/theme/theme7.xml><?xml version="1.0" encoding="utf-8"?>
<a:theme xmlns:a="http://schemas.openxmlformats.org/drawingml/2006/main" name="16-0440_AccentureAnalytics_OverviewCreative_template_16-9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B500"/>
      </a:accent1>
      <a:accent2>
        <a:srgbClr val="408FCD"/>
      </a:accent2>
      <a:accent3>
        <a:srgbClr val="4E2600"/>
      </a:accent3>
      <a:accent4>
        <a:srgbClr val="CBCCCC"/>
      </a:accent4>
      <a:accent5>
        <a:srgbClr val="FFB500"/>
      </a:accent5>
      <a:accent6>
        <a:srgbClr val="408FCD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3_16-0029 3. Digital Operations (IoT) Sales Deck - Final">
  <a:themeElements>
    <a:clrScheme name="Avanade 2016">
      <a:dk1>
        <a:sysClr val="windowText" lastClr="000000"/>
      </a:dk1>
      <a:lt1>
        <a:sysClr val="window" lastClr="FFFFFF"/>
      </a:lt1>
      <a:dk2>
        <a:srgbClr val="747678"/>
      </a:dk2>
      <a:lt2>
        <a:srgbClr val="BCBDBC"/>
      </a:lt2>
      <a:accent1>
        <a:srgbClr val="FF5800"/>
      </a:accent1>
      <a:accent2>
        <a:srgbClr val="009FDA"/>
      </a:accent2>
      <a:accent3>
        <a:srgbClr val="34B233"/>
      </a:accent3>
      <a:accent4>
        <a:srgbClr val="CF0072"/>
      </a:accent4>
      <a:accent5>
        <a:srgbClr val="FDC82F"/>
      </a:accent5>
      <a:accent6>
        <a:srgbClr val="005CB9"/>
      </a:accent6>
      <a:hlink>
        <a:srgbClr val="FF5800"/>
      </a:hlink>
      <a:folHlink>
        <a:srgbClr val="9F26B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BusinessPPT_2016.pptx" id="{BBB5F7E7-18B9-4A39-8418-A5139F0691A0}" vid="{22FCD716-E47C-4F1D-824C-0D17618FA19D}"/>
    </a:ext>
  </a:extLst>
</a:theme>
</file>

<file path=ppt/theme/theme9.xml><?xml version="1.0" encoding="utf-8"?>
<a:theme xmlns:a="http://schemas.openxmlformats.org/drawingml/2006/main" name="4_16-0029 3. Digital Operations (IoT) Sales Deck - Final">
  <a:themeElements>
    <a:clrScheme name="Avanade 2016">
      <a:dk1>
        <a:sysClr val="windowText" lastClr="000000"/>
      </a:dk1>
      <a:lt1>
        <a:sysClr val="window" lastClr="FFFFFF"/>
      </a:lt1>
      <a:dk2>
        <a:srgbClr val="747678"/>
      </a:dk2>
      <a:lt2>
        <a:srgbClr val="BCBDBC"/>
      </a:lt2>
      <a:accent1>
        <a:srgbClr val="FF5800"/>
      </a:accent1>
      <a:accent2>
        <a:srgbClr val="009FDA"/>
      </a:accent2>
      <a:accent3>
        <a:srgbClr val="34B233"/>
      </a:accent3>
      <a:accent4>
        <a:srgbClr val="CF0072"/>
      </a:accent4>
      <a:accent5>
        <a:srgbClr val="FDC82F"/>
      </a:accent5>
      <a:accent6>
        <a:srgbClr val="005CB9"/>
      </a:accent6>
      <a:hlink>
        <a:srgbClr val="FF5800"/>
      </a:hlink>
      <a:folHlink>
        <a:srgbClr val="9F26B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BusinessPPT_2016.pptx" id="{BBB5F7E7-18B9-4A39-8418-A5139F0691A0}" vid="{22FCD716-E47C-4F1D-824C-0D17618FA19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vanade_Aurora</Template>
  <TotalTime>2179</TotalTime>
  <Words>1028</Words>
  <Application>Microsoft Office PowerPoint</Application>
  <PresentationFormat>Widescreen</PresentationFormat>
  <Paragraphs>457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4" baseType="lpstr">
      <vt:lpstr>ＭＳ Ｐゴシック</vt:lpstr>
      <vt:lpstr>Arial</vt:lpstr>
      <vt:lpstr>Calibri</vt:lpstr>
      <vt:lpstr>Microsoft Uighur</vt:lpstr>
      <vt:lpstr>Segoe UI</vt:lpstr>
      <vt:lpstr>Segoe UI Light</vt:lpstr>
      <vt:lpstr>Segoe UI Symbol</vt:lpstr>
      <vt:lpstr>Wingdings</vt:lpstr>
      <vt:lpstr>Avanade_Aurora</vt:lpstr>
      <vt:lpstr>1_Aurora Divider</vt:lpstr>
      <vt:lpstr>Highly Confidential</vt:lpstr>
      <vt:lpstr>Confidential</vt:lpstr>
      <vt:lpstr>Restricted</vt:lpstr>
      <vt:lpstr>2_16-0029 3. Digital Operations (IoT) Sales Deck - Final</vt:lpstr>
      <vt:lpstr>16-0440_AccentureAnalytics_OverviewCreative_template_16-9</vt:lpstr>
      <vt:lpstr>3_16-0029 3. Digital Operations (IoT) Sales Deck - Final</vt:lpstr>
      <vt:lpstr>4_16-0029 3. Digital Operations (IoT) Sales Deck - Final</vt:lpstr>
      <vt:lpstr>FY13_16by9_fullversion</vt:lpstr>
      <vt:lpstr>2_FY13_16by9_fullversion</vt:lpstr>
      <vt:lpstr>2_FY13_ppt_complete</vt:lpstr>
      <vt:lpstr>think-cell Slide</vt:lpstr>
      <vt:lpstr>PowerPoint Presentation</vt:lpstr>
      <vt:lpstr>Over the next 1 hour, you will get…</vt:lpstr>
      <vt:lpstr>PowerPoint Presentation</vt:lpstr>
      <vt:lpstr>Why Decision Trees? </vt:lpstr>
      <vt:lpstr>Decision Trees? </vt:lpstr>
      <vt:lpstr>Example</vt:lpstr>
      <vt:lpstr>Standard Way to Build a Decision Tree</vt:lpstr>
      <vt:lpstr>Outlook</vt:lpstr>
      <vt:lpstr>Outlook</vt:lpstr>
      <vt:lpstr>Outlook</vt:lpstr>
      <vt:lpstr>Outlook</vt:lpstr>
      <vt:lpstr>Which attribute to split on?</vt:lpstr>
      <vt:lpstr>You learnt so far…</vt:lpstr>
    </vt:vector>
  </TitlesOfParts>
  <Company>Avana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 El Maghraoui</dc:creator>
  <cp:lastModifiedBy>Tripti Sethi</cp:lastModifiedBy>
  <cp:revision>194</cp:revision>
  <dcterms:created xsi:type="dcterms:W3CDTF">2017-03-20T08:49:08Z</dcterms:created>
  <dcterms:modified xsi:type="dcterms:W3CDTF">2017-07-09T11:15:51Z</dcterms:modified>
</cp:coreProperties>
</file>